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theme/theme6.xml" ContentType="application/vnd.openxmlformats-officedocument.theme+xml"/>
  <Override PartName="/ppt/ink/ink1.xml" ContentType="application/inkml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  <p:sldMasterId id="2147483698" r:id="rId2"/>
    <p:sldMasterId id="2147483705" r:id="rId3"/>
    <p:sldMasterId id="2147483712" r:id="rId4"/>
    <p:sldMasterId id="2147483719" r:id="rId5"/>
  </p:sldMasterIdLst>
  <p:notesMasterIdLst>
    <p:notesMasterId r:id="rId23"/>
  </p:notesMasterIdLst>
  <p:sldIdLst>
    <p:sldId id="2147472221" r:id="rId6"/>
    <p:sldId id="2147472254" r:id="rId7"/>
    <p:sldId id="2147472255" r:id="rId8"/>
    <p:sldId id="2147472256" r:id="rId9"/>
    <p:sldId id="2147472252" r:id="rId10"/>
    <p:sldId id="2147472223" r:id="rId11"/>
    <p:sldId id="2147472250" r:id="rId12"/>
    <p:sldId id="2147472230" r:id="rId13"/>
    <p:sldId id="260" r:id="rId14"/>
    <p:sldId id="430" r:id="rId15"/>
    <p:sldId id="432" r:id="rId16"/>
    <p:sldId id="2147472257" r:id="rId17"/>
    <p:sldId id="2147472258" r:id="rId18"/>
    <p:sldId id="2147472229" r:id="rId19"/>
    <p:sldId id="2147472243" r:id="rId20"/>
    <p:sldId id="2147472251" r:id="rId21"/>
    <p:sldId id="2147472253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02F159-831D-45A6-B87E-9FC2DDD480B7}" v="11" dt="2024-01-16T19:06:12.34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51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in, Matthew" userId="708796c3-3719-47f9-94be-73f6a45de28a" providerId="ADAL" clId="{7D02F159-831D-45A6-B87E-9FC2DDD480B7}"/>
    <pc:docChg chg="undo custSel addSld delSld modSld sldOrd addMainMaster delMainMaster">
      <pc:chgData name="Main, Matthew" userId="708796c3-3719-47f9-94be-73f6a45de28a" providerId="ADAL" clId="{7D02F159-831D-45A6-B87E-9FC2DDD480B7}" dt="2024-01-16T19:08:37.366" v="453" actId="6549"/>
      <pc:docMkLst>
        <pc:docMk/>
      </pc:docMkLst>
      <pc:sldChg chg="addSp delSp modSp mod">
        <pc:chgData name="Main, Matthew" userId="708796c3-3719-47f9-94be-73f6a45de28a" providerId="ADAL" clId="{7D02F159-831D-45A6-B87E-9FC2DDD480B7}" dt="2024-01-16T18:57:57.806" v="316" actId="14100"/>
        <pc:sldMkLst>
          <pc:docMk/>
          <pc:sldMk cId="1813695098" sldId="260"/>
        </pc:sldMkLst>
        <pc:spChg chg="add mod">
          <ac:chgData name="Main, Matthew" userId="708796c3-3719-47f9-94be-73f6a45de28a" providerId="ADAL" clId="{7D02F159-831D-45A6-B87E-9FC2DDD480B7}" dt="2024-01-16T18:57:28.466" v="311" actId="21"/>
          <ac:spMkLst>
            <pc:docMk/>
            <pc:sldMk cId="1813695098" sldId="260"/>
            <ac:spMk id="4" creationId="{DDBCBDAB-C2B3-47B4-B59F-48389B74E4E0}"/>
          </ac:spMkLst>
        </pc:spChg>
        <pc:spChg chg="del">
          <ac:chgData name="Main, Matthew" userId="708796c3-3719-47f9-94be-73f6a45de28a" providerId="ADAL" clId="{7D02F159-831D-45A6-B87E-9FC2DDD480B7}" dt="2024-01-16T18:57:28.466" v="311" actId="21"/>
          <ac:spMkLst>
            <pc:docMk/>
            <pc:sldMk cId="1813695098" sldId="260"/>
            <ac:spMk id="21" creationId="{DC4EC4A1-F2A8-46C0-9DB8-9044030FEF77}"/>
          </ac:spMkLst>
        </pc:spChg>
        <pc:graphicFrameChg chg="del">
          <ac:chgData name="Main, Matthew" userId="708796c3-3719-47f9-94be-73f6a45de28a" providerId="ADAL" clId="{7D02F159-831D-45A6-B87E-9FC2DDD480B7}" dt="2024-01-16T18:57:32.334" v="312" actId="21"/>
          <ac:graphicFrameMkLst>
            <pc:docMk/>
            <pc:sldMk cId="1813695098" sldId="260"/>
            <ac:graphicFrameMk id="27" creationId="{518B5387-EEA9-49CC-8804-1ECD6BE7A834}"/>
          </ac:graphicFrameMkLst>
        </pc:graphicFrameChg>
        <pc:picChg chg="del">
          <ac:chgData name="Main, Matthew" userId="708796c3-3719-47f9-94be-73f6a45de28a" providerId="ADAL" clId="{7D02F159-831D-45A6-B87E-9FC2DDD480B7}" dt="2024-01-16T18:57:21.805" v="310" actId="21"/>
          <ac:picMkLst>
            <pc:docMk/>
            <pc:sldMk cId="1813695098" sldId="260"/>
            <ac:picMk id="3" creationId="{67A32E83-3EDF-F271-7180-4D15107CF260}"/>
          </ac:picMkLst>
        </pc:picChg>
        <pc:picChg chg="del">
          <ac:chgData name="Main, Matthew" userId="708796c3-3719-47f9-94be-73f6a45de28a" providerId="ADAL" clId="{7D02F159-831D-45A6-B87E-9FC2DDD480B7}" dt="2024-01-16T18:57:18.713" v="309" actId="21"/>
          <ac:picMkLst>
            <pc:docMk/>
            <pc:sldMk cId="1813695098" sldId="260"/>
            <ac:picMk id="5" creationId="{6FD48C46-8CCC-55F6-3C1F-F5BC4B10DA28}"/>
          </ac:picMkLst>
        </pc:picChg>
        <pc:picChg chg="add mod">
          <ac:chgData name="Main, Matthew" userId="708796c3-3719-47f9-94be-73f6a45de28a" providerId="ADAL" clId="{7D02F159-831D-45A6-B87E-9FC2DDD480B7}" dt="2024-01-16T18:57:57.806" v="316" actId="14100"/>
          <ac:picMkLst>
            <pc:docMk/>
            <pc:sldMk cId="1813695098" sldId="260"/>
            <ac:picMk id="7" creationId="{2F84956E-5255-0140-2348-BCA7D2EE376C}"/>
          </ac:picMkLst>
        </pc:picChg>
      </pc:sldChg>
      <pc:sldChg chg="del">
        <pc:chgData name="Main, Matthew" userId="708796c3-3719-47f9-94be-73f6a45de28a" providerId="ADAL" clId="{7D02F159-831D-45A6-B87E-9FC2DDD480B7}" dt="2024-01-15T22:49:13.083" v="12" actId="2696"/>
        <pc:sldMkLst>
          <pc:docMk/>
          <pc:sldMk cId="4165170129" sldId="301"/>
        </pc:sldMkLst>
      </pc:sldChg>
      <pc:sldChg chg="addSp delSp modSp add del mod">
        <pc:chgData name="Main, Matthew" userId="708796c3-3719-47f9-94be-73f6a45de28a" providerId="ADAL" clId="{7D02F159-831D-45A6-B87E-9FC2DDD480B7}" dt="2024-01-16T19:01:12.832" v="326" actId="27614"/>
        <pc:sldMkLst>
          <pc:docMk/>
          <pc:sldMk cId="2317445043" sldId="430"/>
        </pc:sldMkLst>
        <pc:spChg chg="add del mod">
          <ac:chgData name="Main, Matthew" userId="708796c3-3719-47f9-94be-73f6a45de28a" providerId="ADAL" clId="{7D02F159-831D-45A6-B87E-9FC2DDD480B7}" dt="2024-01-16T18:59:13.006" v="324" actId="21"/>
          <ac:spMkLst>
            <pc:docMk/>
            <pc:sldMk cId="2317445043" sldId="430"/>
            <ac:spMk id="4" creationId="{C1ABD24F-6FFA-4B12-8926-5B179580E69A}"/>
          </ac:spMkLst>
        </pc:spChg>
        <pc:spChg chg="add mod">
          <ac:chgData name="Main, Matthew" userId="708796c3-3719-47f9-94be-73f6a45de28a" providerId="ADAL" clId="{7D02F159-831D-45A6-B87E-9FC2DDD480B7}" dt="2024-01-16T18:59:08.038" v="322" actId="21"/>
          <ac:spMkLst>
            <pc:docMk/>
            <pc:sldMk cId="2317445043" sldId="430"/>
            <ac:spMk id="6" creationId="{9E461457-77AF-338D-71C0-E44BB45DEBC1}"/>
          </ac:spMkLst>
        </pc:spChg>
        <pc:spChg chg="del">
          <ac:chgData name="Main, Matthew" userId="708796c3-3719-47f9-94be-73f6a45de28a" providerId="ADAL" clId="{7D02F159-831D-45A6-B87E-9FC2DDD480B7}" dt="2024-01-16T18:59:08.038" v="322" actId="21"/>
          <ac:spMkLst>
            <pc:docMk/>
            <pc:sldMk cId="2317445043" sldId="430"/>
            <ac:spMk id="21" creationId="{DC4EC4A1-F2A8-46C0-9DB8-9044030FEF77}"/>
          </ac:spMkLst>
        </pc:spChg>
        <pc:graphicFrameChg chg="del">
          <ac:chgData name="Main, Matthew" userId="708796c3-3719-47f9-94be-73f6a45de28a" providerId="ADAL" clId="{7D02F159-831D-45A6-B87E-9FC2DDD480B7}" dt="2024-01-16T18:59:10.870" v="323" actId="21"/>
          <ac:graphicFrameMkLst>
            <pc:docMk/>
            <pc:sldMk cId="2317445043" sldId="430"/>
            <ac:graphicFrameMk id="27" creationId="{518B5387-EEA9-49CC-8804-1ECD6BE7A834}"/>
          </ac:graphicFrameMkLst>
        </pc:graphicFrameChg>
        <pc:picChg chg="add mod">
          <ac:chgData name="Main, Matthew" userId="708796c3-3719-47f9-94be-73f6a45de28a" providerId="ADAL" clId="{7D02F159-831D-45A6-B87E-9FC2DDD480B7}" dt="2024-01-16T19:01:12.832" v="326" actId="27614"/>
          <ac:picMkLst>
            <pc:docMk/>
            <pc:sldMk cId="2317445043" sldId="430"/>
            <ac:picMk id="8" creationId="{D818AEF7-7CDB-B387-3A3C-FA910FF6AE0D}"/>
          </ac:picMkLst>
        </pc:picChg>
        <pc:picChg chg="del">
          <ac:chgData name="Main, Matthew" userId="708796c3-3719-47f9-94be-73f6a45de28a" providerId="ADAL" clId="{7D02F159-831D-45A6-B87E-9FC2DDD480B7}" dt="2024-01-16T18:59:05.207" v="321" actId="21"/>
          <ac:picMkLst>
            <pc:docMk/>
            <pc:sldMk cId="2317445043" sldId="430"/>
            <ac:picMk id="14" creationId="{CED45A6F-4BFD-7EB4-FC5D-1A86BD60F08A}"/>
          </ac:picMkLst>
        </pc:picChg>
        <pc:picChg chg="del mod">
          <ac:chgData name="Main, Matthew" userId="708796c3-3719-47f9-94be-73f6a45de28a" providerId="ADAL" clId="{7D02F159-831D-45A6-B87E-9FC2DDD480B7}" dt="2024-01-16T18:59:01.364" v="320" actId="21"/>
          <ac:picMkLst>
            <pc:docMk/>
            <pc:sldMk cId="2317445043" sldId="430"/>
            <ac:picMk id="28" creationId="{B26EF8A0-D41D-729C-00EB-79198FB890B1}"/>
          </ac:picMkLst>
        </pc:picChg>
      </pc:sldChg>
      <pc:sldChg chg="addSp delSp modSp add del mod">
        <pc:chgData name="Main, Matthew" userId="708796c3-3719-47f9-94be-73f6a45de28a" providerId="ADAL" clId="{7D02F159-831D-45A6-B87E-9FC2DDD480B7}" dt="2024-01-16T19:01:57.279" v="335" actId="962"/>
        <pc:sldMkLst>
          <pc:docMk/>
          <pc:sldMk cId="1873579263" sldId="432"/>
        </pc:sldMkLst>
        <pc:spChg chg="add mod">
          <ac:chgData name="Main, Matthew" userId="708796c3-3719-47f9-94be-73f6a45de28a" providerId="ADAL" clId="{7D02F159-831D-45A6-B87E-9FC2DDD480B7}" dt="2024-01-16T19:01:24.595" v="331" actId="21"/>
          <ac:spMkLst>
            <pc:docMk/>
            <pc:sldMk cId="1873579263" sldId="432"/>
            <ac:spMk id="4" creationId="{8A1D4C49-DD75-A944-D9CA-432AA0E9E376}"/>
          </ac:spMkLst>
        </pc:spChg>
        <pc:spChg chg="del">
          <ac:chgData name="Main, Matthew" userId="708796c3-3719-47f9-94be-73f6a45de28a" providerId="ADAL" clId="{7D02F159-831D-45A6-B87E-9FC2DDD480B7}" dt="2024-01-16T19:01:24.595" v="331" actId="21"/>
          <ac:spMkLst>
            <pc:docMk/>
            <pc:sldMk cId="1873579263" sldId="432"/>
            <ac:spMk id="21" creationId="{DC4EC4A1-F2A8-46C0-9DB8-9044030FEF77}"/>
          </ac:spMkLst>
        </pc:spChg>
        <pc:graphicFrameChg chg="del">
          <ac:chgData name="Main, Matthew" userId="708796c3-3719-47f9-94be-73f6a45de28a" providerId="ADAL" clId="{7D02F159-831D-45A6-B87E-9FC2DDD480B7}" dt="2024-01-16T19:01:27.798" v="332" actId="21"/>
          <ac:graphicFrameMkLst>
            <pc:docMk/>
            <pc:sldMk cId="1873579263" sldId="432"/>
            <ac:graphicFrameMk id="27" creationId="{518B5387-EEA9-49CC-8804-1ECD6BE7A834}"/>
          </ac:graphicFrameMkLst>
        </pc:graphicFrameChg>
        <pc:picChg chg="del">
          <ac:chgData name="Main, Matthew" userId="708796c3-3719-47f9-94be-73f6a45de28a" providerId="ADAL" clId="{7D02F159-831D-45A6-B87E-9FC2DDD480B7}" dt="2024-01-16T19:01:21.580" v="330" actId="21"/>
          <ac:picMkLst>
            <pc:docMk/>
            <pc:sldMk cId="1873579263" sldId="432"/>
            <ac:picMk id="3" creationId="{569AE149-DCC9-E6EF-DA3B-4DE77584FB39}"/>
          </ac:picMkLst>
        </pc:picChg>
        <pc:picChg chg="add mod">
          <ac:chgData name="Main, Matthew" userId="708796c3-3719-47f9-94be-73f6a45de28a" providerId="ADAL" clId="{7D02F159-831D-45A6-B87E-9FC2DDD480B7}" dt="2024-01-16T19:01:57.279" v="335" actId="962"/>
          <ac:picMkLst>
            <pc:docMk/>
            <pc:sldMk cId="1873579263" sldId="432"/>
            <ac:picMk id="6" creationId="{542CE352-A976-CEE9-5701-1E8F5C26E67D}"/>
          </ac:picMkLst>
        </pc:picChg>
        <pc:picChg chg="del">
          <ac:chgData name="Main, Matthew" userId="708796c3-3719-47f9-94be-73f6a45de28a" providerId="ADAL" clId="{7D02F159-831D-45A6-B87E-9FC2DDD480B7}" dt="2024-01-16T19:01:20.209" v="329" actId="21"/>
          <ac:picMkLst>
            <pc:docMk/>
            <pc:sldMk cId="1873579263" sldId="432"/>
            <ac:picMk id="24" creationId="{D2CFA3DA-A3A9-1CC2-8EEC-3AC0A7B8E1F2}"/>
          </ac:picMkLst>
        </pc:picChg>
      </pc:sldChg>
      <pc:sldChg chg="modSp mod">
        <pc:chgData name="Main, Matthew" userId="708796c3-3719-47f9-94be-73f6a45de28a" providerId="ADAL" clId="{7D02F159-831D-45A6-B87E-9FC2DDD480B7}" dt="2024-01-15T22:48:16.713" v="11" actId="20577"/>
        <pc:sldMkLst>
          <pc:docMk/>
          <pc:sldMk cId="1951538290" sldId="2147472221"/>
        </pc:sldMkLst>
        <pc:spChg chg="mod">
          <ac:chgData name="Main, Matthew" userId="708796c3-3719-47f9-94be-73f6a45de28a" providerId="ADAL" clId="{7D02F159-831D-45A6-B87E-9FC2DDD480B7}" dt="2024-01-15T22:48:16.713" v="11" actId="20577"/>
          <ac:spMkLst>
            <pc:docMk/>
            <pc:sldMk cId="1951538290" sldId="2147472221"/>
            <ac:spMk id="5" creationId="{27F1691E-FBA2-4B2B-8113-66133A14AC7C}"/>
          </ac:spMkLst>
        </pc:spChg>
      </pc:sldChg>
      <pc:sldChg chg="modSp mod">
        <pc:chgData name="Main, Matthew" userId="708796c3-3719-47f9-94be-73f6a45de28a" providerId="ADAL" clId="{7D02F159-831D-45A6-B87E-9FC2DDD480B7}" dt="2024-01-15T22:55:12.379" v="302" actId="20577"/>
        <pc:sldMkLst>
          <pc:docMk/>
          <pc:sldMk cId="3517751329" sldId="2147472223"/>
        </pc:sldMkLst>
        <pc:spChg chg="mod">
          <ac:chgData name="Main, Matthew" userId="708796c3-3719-47f9-94be-73f6a45de28a" providerId="ADAL" clId="{7D02F159-831D-45A6-B87E-9FC2DDD480B7}" dt="2024-01-15T22:55:12.379" v="302" actId="20577"/>
          <ac:spMkLst>
            <pc:docMk/>
            <pc:sldMk cId="3517751329" sldId="2147472223"/>
            <ac:spMk id="2" creationId="{B2BF2807-1F61-4676-8D4A-18C4A18E82C0}"/>
          </ac:spMkLst>
        </pc:spChg>
      </pc:sldChg>
      <pc:sldChg chg="modSp mod">
        <pc:chgData name="Main, Matthew" userId="708796c3-3719-47f9-94be-73f6a45de28a" providerId="ADAL" clId="{7D02F159-831D-45A6-B87E-9FC2DDD480B7}" dt="2024-01-15T22:54:53.496" v="278" actId="20577"/>
        <pc:sldMkLst>
          <pc:docMk/>
          <pc:sldMk cId="2008630095" sldId="2147472229"/>
        </pc:sldMkLst>
        <pc:spChg chg="mod">
          <ac:chgData name="Main, Matthew" userId="708796c3-3719-47f9-94be-73f6a45de28a" providerId="ADAL" clId="{7D02F159-831D-45A6-B87E-9FC2DDD480B7}" dt="2024-01-15T22:54:53.496" v="278" actId="20577"/>
          <ac:spMkLst>
            <pc:docMk/>
            <pc:sldMk cId="2008630095" sldId="2147472229"/>
            <ac:spMk id="4" creationId="{4E650005-96AF-48BD-A4E3-84EDA4E617A8}"/>
          </ac:spMkLst>
        </pc:spChg>
      </pc:sldChg>
      <pc:sldChg chg="addSp delSp modSp mod">
        <pc:chgData name="Main, Matthew" userId="708796c3-3719-47f9-94be-73f6a45de28a" providerId="ADAL" clId="{7D02F159-831D-45A6-B87E-9FC2DDD480B7}" dt="2024-01-16T18:56:36.748" v="308" actId="962"/>
        <pc:sldMkLst>
          <pc:docMk/>
          <pc:sldMk cId="923823832" sldId="2147472230"/>
        </pc:sldMkLst>
        <pc:graphicFrameChg chg="del">
          <ac:chgData name="Main, Matthew" userId="708796c3-3719-47f9-94be-73f6a45de28a" providerId="ADAL" clId="{7D02F159-831D-45A6-B87E-9FC2DDD480B7}" dt="2024-01-16T18:56:10.227" v="305" actId="21"/>
          <ac:graphicFrameMkLst>
            <pc:docMk/>
            <pc:sldMk cId="923823832" sldId="2147472230"/>
            <ac:graphicFrameMk id="27" creationId="{518B5387-EEA9-49CC-8804-1ECD6BE7A834}"/>
          </ac:graphicFrameMkLst>
        </pc:graphicFrameChg>
        <pc:picChg chg="add mod">
          <ac:chgData name="Main, Matthew" userId="708796c3-3719-47f9-94be-73f6a45de28a" providerId="ADAL" clId="{7D02F159-831D-45A6-B87E-9FC2DDD480B7}" dt="2024-01-16T18:56:36.748" v="308" actId="962"/>
          <ac:picMkLst>
            <pc:docMk/>
            <pc:sldMk cId="923823832" sldId="2147472230"/>
            <ac:picMk id="3" creationId="{6422F81F-9686-9850-7EC7-B8FD6D642CC6}"/>
          </ac:picMkLst>
        </pc:picChg>
        <pc:picChg chg="del">
          <ac:chgData name="Main, Matthew" userId="708796c3-3719-47f9-94be-73f6a45de28a" providerId="ADAL" clId="{7D02F159-831D-45A6-B87E-9FC2DDD480B7}" dt="2024-01-16T18:55:45.275" v="303" actId="21"/>
          <ac:picMkLst>
            <pc:docMk/>
            <pc:sldMk cId="923823832" sldId="2147472230"/>
            <ac:picMk id="9" creationId="{456259D1-C859-FC65-194B-FD5893532F2D}"/>
          </ac:picMkLst>
        </pc:picChg>
        <pc:picChg chg="del">
          <ac:chgData name="Main, Matthew" userId="708796c3-3719-47f9-94be-73f6a45de28a" providerId="ADAL" clId="{7D02F159-831D-45A6-B87E-9FC2DDD480B7}" dt="2024-01-16T18:56:01.207" v="304" actId="21"/>
          <ac:picMkLst>
            <pc:docMk/>
            <pc:sldMk cId="923823832" sldId="2147472230"/>
            <ac:picMk id="16" creationId="{F8AD2D41-909E-41BD-9C2A-31B799446B31}"/>
          </ac:picMkLst>
        </pc:picChg>
      </pc:sldChg>
      <pc:sldChg chg="addSp delSp modSp mod">
        <pc:chgData name="Main, Matthew" userId="708796c3-3719-47f9-94be-73f6a45de28a" providerId="ADAL" clId="{7D02F159-831D-45A6-B87E-9FC2DDD480B7}" dt="2024-01-16T19:06:14.549" v="388" actId="27614"/>
        <pc:sldMkLst>
          <pc:docMk/>
          <pc:sldMk cId="2264709980" sldId="2147472243"/>
        </pc:sldMkLst>
        <pc:spChg chg="del">
          <ac:chgData name="Main, Matthew" userId="708796c3-3719-47f9-94be-73f6a45de28a" providerId="ADAL" clId="{7D02F159-831D-45A6-B87E-9FC2DDD480B7}" dt="2024-01-16T19:05:23.827" v="363" actId="21"/>
          <ac:spMkLst>
            <pc:docMk/>
            <pc:sldMk cId="2264709980" sldId="2147472243"/>
            <ac:spMk id="2" creationId="{F47188C2-2430-1985-4A6D-D14F58D19962}"/>
          </ac:spMkLst>
        </pc:spChg>
        <pc:spChg chg="mod">
          <ac:chgData name="Main, Matthew" userId="708796c3-3719-47f9-94be-73f6a45de28a" providerId="ADAL" clId="{7D02F159-831D-45A6-B87E-9FC2DDD480B7}" dt="2024-01-16T19:05:52.084" v="386" actId="20577"/>
          <ac:spMkLst>
            <pc:docMk/>
            <pc:sldMk cId="2264709980" sldId="2147472243"/>
            <ac:spMk id="3" creationId="{2F7C73FC-6F9D-4ABC-B5A5-D906AC09A070}"/>
          </ac:spMkLst>
        </pc:spChg>
        <pc:spChg chg="add del mod">
          <ac:chgData name="Main, Matthew" userId="708796c3-3719-47f9-94be-73f6a45de28a" providerId="ADAL" clId="{7D02F159-831D-45A6-B87E-9FC2DDD480B7}" dt="2024-01-16T19:06:12.344" v="387" actId="931"/>
          <ac:spMkLst>
            <pc:docMk/>
            <pc:sldMk cId="2264709980" sldId="2147472243"/>
            <ac:spMk id="5" creationId="{F0E2B6FD-6D68-FE24-B1D5-03CF89C82166}"/>
          </ac:spMkLst>
        </pc:spChg>
        <pc:picChg chg="del">
          <ac:chgData name="Main, Matthew" userId="708796c3-3719-47f9-94be-73f6a45de28a" providerId="ADAL" clId="{7D02F159-831D-45A6-B87E-9FC2DDD480B7}" dt="2024-01-16T19:05:17.693" v="362" actId="21"/>
          <ac:picMkLst>
            <pc:docMk/>
            <pc:sldMk cId="2264709980" sldId="2147472243"/>
            <ac:picMk id="6" creationId="{FF240EBA-9AA7-E84F-4D67-1B3CE529FDD5}"/>
          </ac:picMkLst>
        </pc:picChg>
        <pc:picChg chg="del">
          <ac:chgData name="Main, Matthew" userId="708796c3-3719-47f9-94be-73f6a45de28a" providerId="ADAL" clId="{7D02F159-831D-45A6-B87E-9FC2DDD480B7}" dt="2024-01-16T19:05:29.279" v="364" actId="21"/>
          <ac:picMkLst>
            <pc:docMk/>
            <pc:sldMk cId="2264709980" sldId="2147472243"/>
            <ac:picMk id="8" creationId="{C57C2D78-472C-DBD3-D99D-335D509AF7AB}"/>
          </ac:picMkLst>
        </pc:picChg>
        <pc:picChg chg="add mod">
          <ac:chgData name="Main, Matthew" userId="708796c3-3719-47f9-94be-73f6a45de28a" providerId="ADAL" clId="{7D02F159-831D-45A6-B87E-9FC2DDD480B7}" dt="2024-01-16T19:06:14.549" v="388" actId="27614"/>
          <ac:picMkLst>
            <pc:docMk/>
            <pc:sldMk cId="2264709980" sldId="2147472243"/>
            <ac:picMk id="9" creationId="{DC585AFF-AF4D-435F-3E12-C6FE92BC115D}"/>
          </ac:picMkLst>
        </pc:picChg>
      </pc:sldChg>
      <pc:sldChg chg="modSp mod">
        <pc:chgData name="Main, Matthew" userId="708796c3-3719-47f9-94be-73f6a45de28a" providerId="ADAL" clId="{7D02F159-831D-45A6-B87E-9FC2DDD480B7}" dt="2024-01-15T22:55:03.223" v="290" actId="20577"/>
        <pc:sldMkLst>
          <pc:docMk/>
          <pc:sldMk cId="2490979198" sldId="2147472250"/>
        </pc:sldMkLst>
        <pc:spChg chg="mod">
          <ac:chgData name="Main, Matthew" userId="708796c3-3719-47f9-94be-73f6a45de28a" providerId="ADAL" clId="{7D02F159-831D-45A6-B87E-9FC2DDD480B7}" dt="2024-01-15T22:55:03.223" v="290" actId="20577"/>
          <ac:spMkLst>
            <pc:docMk/>
            <pc:sldMk cId="2490979198" sldId="2147472250"/>
            <ac:spMk id="2" creationId="{B2BF2807-1F61-4676-8D4A-18C4A18E82C0}"/>
          </ac:spMkLst>
        </pc:spChg>
      </pc:sldChg>
      <pc:sldChg chg="modSp mod">
        <pc:chgData name="Main, Matthew" userId="708796c3-3719-47f9-94be-73f6a45de28a" providerId="ADAL" clId="{7D02F159-831D-45A6-B87E-9FC2DDD480B7}" dt="2024-01-15T22:54:36.053" v="266" actId="20577"/>
        <pc:sldMkLst>
          <pc:docMk/>
          <pc:sldMk cId="311929283" sldId="2147472251"/>
        </pc:sldMkLst>
        <pc:spChg chg="mod">
          <ac:chgData name="Main, Matthew" userId="708796c3-3719-47f9-94be-73f6a45de28a" providerId="ADAL" clId="{7D02F159-831D-45A6-B87E-9FC2DDD480B7}" dt="2024-01-15T22:54:24.743" v="241" actId="20577"/>
          <ac:spMkLst>
            <pc:docMk/>
            <pc:sldMk cId="311929283" sldId="2147472251"/>
            <ac:spMk id="2" creationId="{8F99B636-673F-4821-B85C-85CDECCF5D93}"/>
          </ac:spMkLst>
        </pc:spChg>
        <pc:spChg chg="mod">
          <ac:chgData name="Main, Matthew" userId="708796c3-3719-47f9-94be-73f6a45de28a" providerId="ADAL" clId="{7D02F159-831D-45A6-B87E-9FC2DDD480B7}" dt="2024-01-15T22:54:36.053" v="266" actId="20577"/>
          <ac:spMkLst>
            <pc:docMk/>
            <pc:sldMk cId="311929283" sldId="2147472251"/>
            <ac:spMk id="4" creationId="{4E650005-96AF-48BD-A4E3-84EDA4E617A8}"/>
          </ac:spMkLst>
        </pc:spChg>
      </pc:sldChg>
      <pc:sldChg chg="modSp mod ord">
        <pc:chgData name="Main, Matthew" userId="708796c3-3719-47f9-94be-73f6a45de28a" providerId="ADAL" clId="{7D02F159-831D-45A6-B87E-9FC2DDD480B7}" dt="2024-01-15T22:54:05.018" v="214" actId="20577"/>
        <pc:sldMkLst>
          <pc:docMk/>
          <pc:sldMk cId="1068006151" sldId="2147472254"/>
        </pc:sldMkLst>
        <pc:spChg chg="mod">
          <ac:chgData name="Main, Matthew" userId="708796c3-3719-47f9-94be-73f6a45de28a" providerId="ADAL" clId="{7D02F159-831D-45A6-B87E-9FC2DDD480B7}" dt="2024-01-15T22:51:24.479" v="26" actId="20577"/>
          <ac:spMkLst>
            <pc:docMk/>
            <pc:sldMk cId="1068006151" sldId="2147472254"/>
            <ac:spMk id="2" creationId="{286CFDB9-EAC2-2B97-06EB-AE96657D1020}"/>
          </ac:spMkLst>
        </pc:spChg>
        <pc:spChg chg="mod">
          <ac:chgData name="Main, Matthew" userId="708796c3-3719-47f9-94be-73f6a45de28a" providerId="ADAL" clId="{7D02F159-831D-45A6-B87E-9FC2DDD480B7}" dt="2024-01-15T22:54:05.018" v="214" actId="20577"/>
          <ac:spMkLst>
            <pc:docMk/>
            <pc:sldMk cId="1068006151" sldId="2147472254"/>
            <ac:spMk id="5" creationId="{62636714-BF07-6C24-B098-DE2FAE71A3B3}"/>
          </ac:spMkLst>
        </pc:spChg>
      </pc:sldChg>
      <pc:sldChg chg="modSp mod ord">
        <pc:chgData name="Main, Matthew" userId="708796c3-3719-47f9-94be-73f6a45de28a" providerId="ADAL" clId="{7D02F159-831D-45A6-B87E-9FC2DDD480B7}" dt="2024-01-16T19:08:37.366" v="453" actId="6549"/>
        <pc:sldMkLst>
          <pc:docMk/>
          <pc:sldMk cId="2336546319" sldId="2147472255"/>
        </pc:sldMkLst>
        <pc:spChg chg="mod">
          <ac:chgData name="Main, Matthew" userId="708796c3-3719-47f9-94be-73f6a45de28a" providerId="ADAL" clId="{7D02F159-831D-45A6-B87E-9FC2DDD480B7}" dt="2024-01-16T19:08:37.366" v="453" actId="6549"/>
          <ac:spMkLst>
            <pc:docMk/>
            <pc:sldMk cId="2336546319" sldId="2147472255"/>
            <ac:spMk id="5" creationId="{CAFEBEDB-263C-DED7-E0E7-26C844B3650E}"/>
          </ac:spMkLst>
        </pc:spChg>
      </pc:sldChg>
      <pc:sldChg chg="modSp mod">
        <pc:chgData name="Main, Matthew" userId="708796c3-3719-47f9-94be-73f6a45de28a" providerId="ADAL" clId="{7D02F159-831D-45A6-B87E-9FC2DDD480B7}" dt="2024-01-15T22:49:51.643" v="18" actId="113"/>
        <pc:sldMkLst>
          <pc:docMk/>
          <pc:sldMk cId="2643797817" sldId="2147472256"/>
        </pc:sldMkLst>
        <pc:spChg chg="mod">
          <ac:chgData name="Main, Matthew" userId="708796c3-3719-47f9-94be-73f6a45de28a" providerId="ADAL" clId="{7D02F159-831D-45A6-B87E-9FC2DDD480B7}" dt="2024-01-15T22:49:41.975" v="16" actId="113"/>
          <ac:spMkLst>
            <pc:docMk/>
            <pc:sldMk cId="2643797817" sldId="2147472256"/>
            <ac:spMk id="4" creationId="{CA1E6321-BA96-49D4-9AAE-902B74EF502C}"/>
          </ac:spMkLst>
        </pc:spChg>
        <pc:spChg chg="mod">
          <ac:chgData name="Main, Matthew" userId="708796c3-3719-47f9-94be-73f6a45de28a" providerId="ADAL" clId="{7D02F159-831D-45A6-B87E-9FC2DDD480B7}" dt="2024-01-15T22:49:51.643" v="18" actId="113"/>
          <ac:spMkLst>
            <pc:docMk/>
            <pc:sldMk cId="2643797817" sldId="2147472256"/>
            <ac:spMk id="6" creationId="{EFCF0DD9-5810-4799-9306-1550B120B634}"/>
          </ac:spMkLst>
        </pc:spChg>
      </pc:sldChg>
      <pc:sldChg chg="addSp delSp modSp new mod">
        <pc:chgData name="Main, Matthew" userId="708796c3-3719-47f9-94be-73f6a45de28a" providerId="ADAL" clId="{7D02F159-831D-45A6-B87E-9FC2DDD480B7}" dt="2024-01-16T19:03:50.848" v="349" actId="962"/>
        <pc:sldMkLst>
          <pc:docMk/>
          <pc:sldMk cId="3215997962" sldId="2147472257"/>
        </pc:sldMkLst>
        <pc:spChg chg="del">
          <ac:chgData name="Main, Matthew" userId="708796c3-3719-47f9-94be-73f6a45de28a" providerId="ADAL" clId="{7D02F159-831D-45A6-B87E-9FC2DDD480B7}" dt="2024-01-16T19:02:27.823" v="340" actId="21"/>
          <ac:spMkLst>
            <pc:docMk/>
            <pc:sldMk cId="3215997962" sldId="2147472257"/>
            <ac:spMk id="2" creationId="{B2559EC1-9D6F-3511-76D6-5A5CA4EDAB3C}"/>
          </ac:spMkLst>
        </pc:spChg>
        <pc:spChg chg="del">
          <ac:chgData name="Main, Matthew" userId="708796c3-3719-47f9-94be-73f6a45de28a" providerId="ADAL" clId="{7D02F159-831D-45A6-B87E-9FC2DDD480B7}" dt="2024-01-16T19:02:25.673" v="339" actId="21"/>
          <ac:spMkLst>
            <pc:docMk/>
            <pc:sldMk cId="3215997962" sldId="2147472257"/>
            <ac:spMk id="3" creationId="{72EAB55E-E6BF-3AF5-0C4E-D9EAAA1659A3}"/>
          </ac:spMkLst>
        </pc:spChg>
        <pc:spChg chg="del">
          <ac:chgData name="Main, Matthew" userId="708796c3-3719-47f9-94be-73f6a45de28a" providerId="ADAL" clId="{7D02F159-831D-45A6-B87E-9FC2DDD480B7}" dt="2024-01-16T19:02:44.989" v="343" actId="21"/>
          <ac:spMkLst>
            <pc:docMk/>
            <pc:sldMk cId="3215997962" sldId="2147472257"/>
            <ac:spMk id="4" creationId="{FAE9710A-F918-4799-1EAA-8EF49D8EC778}"/>
          </ac:spMkLst>
        </pc:spChg>
        <pc:spChg chg="del">
          <ac:chgData name="Main, Matthew" userId="708796c3-3719-47f9-94be-73f6a45de28a" providerId="ADAL" clId="{7D02F159-831D-45A6-B87E-9FC2DDD480B7}" dt="2024-01-16T19:02:36.711" v="341" actId="21"/>
          <ac:spMkLst>
            <pc:docMk/>
            <pc:sldMk cId="3215997962" sldId="2147472257"/>
            <ac:spMk id="5" creationId="{3B244E14-CE25-13D7-5F9F-F7FFE62A465E}"/>
          </ac:spMkLst>
        </pc:spChg>
        <pc:spChg chg="del">
          <ac:chgData name="Main, Matthew" userId="708796c3-3719-47f9-94be-73f6a45de28a" providerId="ADAL" clId="{7D02F159-831D-45A6-B87E-9FC2DDD480B7}" dt="2024-01-16T19:02:42.235" v="342" actId="21"/>
          <ac:spMkLst>
            <pc:docMk/>
            <pc:sldMk cId="3215997962" sldId="2147472257"/>
            <ac:spMk id="6" creationId="{3D08F2EC-EA8C-03C9-11F7-9ACA50D916B0}"/>
          </ac:spMkLst>
        </pc:spChg>
        <pc:spChg chg="del">
          <ac:chgData name="Main, Matthew" userId="708796c3-3719-47f9-94be-73f6a45de28a" providerId="ADAL" clId="{7D02F159-831D-45A6-B87E-9FC2DDD480B7}" dt="2024-01-16T19:02:49.124" v="344" actId="21"/>
          <ac:spMkLst>
            <pc:docMk/>
            <pc:sldMk cId="3215997962" sldId="2147472257"/>
            <ac:spMk id="7" creationId="{1767058C-E559-5AD5-3C04-1341EDD6BDB7}"/>
          </ac:spMkLst>
        </pc:spChg>
        <pc:spChg chg="del">
          <ac:chgData name="Main, Matthew" userId="708796c3-3719-47f9-94be-73f6a45de28a" providerId="ADAL" clId="{7D02F159-831D-45A6-B87E-9FC2DDD480B7}" dt="2024-01-16T19:02:22.694" v="338" actId="21"/>
          <ac:spMkLst>
            <pc:docMk/>
            <pc:sldMk cId="3215997962" sldId="2147472257"/>
            <ac:spMk id="8" creationId="{D85544A8-2FB3-3166-3662-4B6B6846671D}"/>
          </ac:spMkLst>
        </pc:spChg>
        <pc:spChg chg="del">
          <ac:chgData name="Main, Matthew" userId="708796c3-3719-47f9-94be-73f6a45de28a" providerId="ADAL" clId="{7D02F159-831D-45A6-B87E-9FC2DDD480B7}" dt="2024-01-16T19:02:19.936" v="337" actId="21"/>
          <ac:spMkLst>
            <pc:docMk/>
            <pc:sldMk cId="3215997962" sldId="2147472257"/>
            <ac:spMk id="9" creationId="{D9522FC6-B88F-E73B-929C-41D62EBF02FA}"/>
          </ac:spMkLst>
        </pc:spChg>
        <pc:picChg chg="add del mod">
          <ac:chgData name="Main, Matthew" userId="708796c3-3719-47f9-94be-73f6a45de28a" providerId="ADAL" clId="{7D02F159-831D-45A6-B87E-9FC2DDD480B7}" dt="2024-01-16T19:03:11.087" v="346" actId="931"/>
          <ac:picMkLst>
            <pc:docMk/>
            <pc:sldMk cId="3215997962" sldId="2147472257"/>
            <ac:picMk id="11" creationId="{6E9BAF85-9E41-74AB-09A3-6A18DDA88354}"/>
          </ac:picMkLst>
        </pc:picChg>
        <pc:picChg chg="add mod">
          <ac:chgData name="Main, Matthew" userId="708796c3-3719-47f9-94be-73f6a45de28a" providerId="ADAL" clId="{7D02F159-831D-45A6-B87E-9FC2DDD480B7}" dt="2024-01-16T19:03:50.848" v="349" actId="962"/>
          <ac:picMkLst>
            <pc:docMk/>
            <pc:sldMk cId="3215997962" sldId="2147472257"/>
            <ac:picMk id="13" creationId="{2E77E7C0-E0BE-4382-730A-B414FC79EB7F}"/>
          </ac:picMkLst>
        </pc:picChg>
      </pc:sldChg>
      <pc:sldChg chg="addSp delSp modSp new mod">
        <pc:chgData name="Main, Matthew" userId="708796c3-3719-47f9-94be-73f6a45de28a" providerId="ADAL" clId="{7D02F159-831D-45A6-B87E-9FC2DDD480B7}" dt="2024-01-16T19:05:08.202" v="361" actId="962"/>
        <pc:sldMkLst>
          <pc:docMk/>
          <pc:sldMk cId="2549229526" sldId="2147472258"/>
        </pc:sldMkLst>
        <pc:spChg chg="del">
          <ac:chgData name="Main, Matthew" userId="708796c3-3719-47f9-94be-73f6a45de28a" providerId="ADAL" clId="{7D02F159-831D-45A6-B87E-9FC2DDD480B7}" dt="2024-01-16T19:04:14.273" v="354" actId="21"/>
          <ac:spMkLst>
            <pc:docMk/>
            <pc:sldMk cId="2549229526" sldId="2147472258"/>
            <ac:spMk id="2" creationId="{BA21E2AD-2134-4D5D-8EDE-2BBC201AD7E9}"/>
          </ac:spMkLst>
        </pc:spChg>
        <pc:spChg chg="del">
          <ac:chgData name="Main, Matthew" userId="708796c3-3719-47f9-94be-73f6a45de28a" providerId="ADAL" clId="{7D02F159-831D-45A6-B87E-9FC2DDD480B7}" dt="2024-01-16T19:04:11.261" v="353" actId="21"/>
          <ac:spMkLst>
            <pc:docMk/>
            <pc:sldMk cId="2549229526" sldId="2147472258"/>
            <ac:spMk id="3" creationId="{3C95CF15-55AB-82F1-BD41-8C6E1D325854}"/>
          </ac:spMkLst>
        </pc:spChg>
        <pc:spChg chg="del">
          <ac:chgData name="Main, Matthew" userId="708796c3-3719-47f9-94be-73f6a45de28a" providerId="ADAL" clId="{7D02F159-831D-45A6-B87E-9FC2DDD480B7}" dt="2024-01-16T19:04:36.032" v="357" actId="21"/>
          <ac:spMkLst>
            <pc:docMk/>
            <pc:sldMk cId="2549229526" sldId="2147472258"/>
            <ac:spMk id="4" creationId="{EE1C862B-A384-437C-DE69-464AB842799D}"/>
          </ac:spMkLst>
        </pc:spChg>
        <pc:spChg chg="del">
          <ac:chgData name="Main, Matthew" userId="708796c3-3719-47f9-94be-73f6a45de28a" providerId="ADAL" clId="{7D02F159-831D-45A6-B87E-9FC2DDD480B7}" dt="2024-01-16T19:04:20.674" v="356" actId="21"/>
          <ac:spMkLst>
            <pc:docMk/>
            <pc:sldMk cId="2549229526" sldId="2147472258"/>
            <ac:spMk id="5" creationId="{BC5E94ED-C9E4-995B-C1AE-713C72ACB4B6}"/>
          </ac:spMkLst>
        </pc:spChg>
        <pc:spChg chg="del">
          <ac:chgData name="Main, Matthew" userId="708796c3-3719-47f9-94be-73f6a45de28a" providerId="ADAL" clId="{7D02F159-831D-45A6-B87E-9FC2DDD480B7}" dt="2024-01-16T19:04:16.864" v="355" actId="21"/>
          <ac:spMkLst>
            <pc:docMk/>
            <pc:sldMk cId="2549229526" sldId="2147472258"/>
            <ac:spMk id="6" creationId="{E47B088D-78F9-7E8F-AE1F-0EF0420EEC13}"/>
          </ac:spMkLst>
        </pc:spChg>
        <pc:spChg chg="del">
          <ac:chgData name="Main, Matthew" userId="708796c3-3719-47f9-94be-73f6a45de28a" providerId="ADAL" clId="{7D02F159-831D-45A6-B87E-9FC2DDD480B7}" dt="2024-01-16T19:04:39.876" v="358" actId="21"/>
          <ac:spMkLst>
            <pc:docMk/>
            <pc:sldMk cId="2549229526" sldId="2147472258"/>
            <ac:spMk id="7" creationId="{23B6B01C-2DDE-625C-2B77-6A1DFECE2B42}"/>
          </ac:spMkLst>
        </pc:spChg>
        <pc:spChg chg="del">
          <ac:chgData name="Main, Matthew" userId="708796c3-3719-47f9-94be-73f6a45de28a" providerId="ADAL" clId="{7D02F159-831D-45A6-B87E-9FC2DDD480B7}" dt="2024-01-16T19:04:08.978" v="352" actId="21"/>
          <ac:spMkLst>
            <pc:docMk/>
            <pc:sldMk cId="2549229526" sldId="2147472258"/>
            <ac:spMk id="8" creationId="{94E9C56C-57D2-2968-3CB0-2A44DBC21FFA}"/>
          </ac:spMkLst>
        </pc:spChg>
        <pc:spChg chg="del">
          <ac:chgData name="Main, Matthew" userId="708796c3-3719-47f9-94be-73f6a45de28a" providerId="ADAL" clId="{7D02F159-831D-45A6-B87E-9FC2DDD480B7}" dt="2024-01-16T19:04:06.601" v="351" actId="21"/>
          <ac:spMkLst>
            <pc:docMk/>
            <pc:sldMk cId="2549229526" sldId="2147472258"/>
            <ac:spMk id="9" creationId="{23943DD6-F85A-4D9D-0648-39F366CFF4F4}"/>
          </ac:spMkLst>
        </pc:spChg>
        <pc:picChg chg="add mod">
          <ac:chgData name="Main, Matthew" userId="708796c3-3719-47f9-94be-73f6a45de28a" providerId="ADAL" clId="{7D02F159-831D-45A6-B87E-9FC2DDD480B7}" dt="2024-01-16T19:05:08.202" v="361" actId="962"/>
          <ac:picMkLst>
            <pc:docMk/>
            <pc:sldMk cId="2549229526" sldId="2147472258"/>
            <ac:picMk id="11" creationId="{3A4566B3-931E-D613-9F26-EB098AE72307}"/>
          </ac:picMkLst>
        </pc:picChg>
      </pc:sldChg>
      <pc:sldMasterChg chg="add del addSldLayout delSldLayout">
        <pc:chgData name="Main, Matthew" userId="708796c3-3719-47f9-94be-73f6a45de28a" providerId="ADAL" clId="{7D02F159-831D-45A6-B87E-9FC2DDD480B7}" dt="2024-01-16T18:58:57.226" v="318" actId="2696"/>
        <pc:sldMasterMkLst>
          <pc:docMk/>
          <pc:sldMasterMk cId="2207258583" sldId="2147483712"/>
        </pc:sldMasterMkLst>
        <pc:sldLayoutChg chg="add del">
          <pc:chgData name="Main, Matthew" userId="708796c3-3719-47f9-94be-73f6a45de28a" providerId="ADAL" clId="{7D02F159-831D-45A6-B87E-9FC2DDD480B7}" dt="2024-01-16T18:58:57.226" v="318" actId="2696"/>
          <pc:sldLayoutMkLst>
            <pc:docMk/>
            <pc:sldMasterMk cId="2207258583" sldId="2147483712"/>
            <pc:sldLayoutMk cId="590663729" sldId="2147483713"/>
          </pc:sldLayoutMkLst>
        </pc:sldLayoutChg>
        <pc:sldLayoutChg chg="add del">
          <pc:chgData name="Main, Matthew" userId="708796c3-3719-47f9-94be-73f6a45de28a" providerId="ADAL" clId="{7D02F159-831D-45A6-B87E-9FC2DDD480B7}" dt="2024-01-16T18:58:57.226" v="318" actId="2696"/>
          <pc:sldLayoutMkLst>
            <pc:docMk/>
            <pc:sldMasterMk cId="2207258583" sldId="2147483712"/>
            <pc:sldLayoutMk cId="1316138313" sldId="2147483714"/>
          </pc:sldLayoutMkLst>
        </pc:sldLayoutChg>
        <pc:sldLayoutChg chg="add del">
          <pc:chgData name="Main, Matthew" userId="708796c3-3719-47f9-94be-73f6a45de28a" providerId="ADAL" clId="{7D02F159-831D-45A6-B87E-9FC2DDD480B7}" dt="2024-01-16T18:58:57.226" v="318" actId="2696"/>
          <pc:sldLayoutMkLst>
            <pc:docMk/>
            <pc:sldMasterMk cId="2207258583" sldId="2147483712"/>
            <pc:sldLayoutMk cId="1442320352" sldId="2147483715"/>
          </pc:sldLayoutMkLst>
        </pc:sldLayoutChg>
        <pc:sldLayoutChg chg="add del">
          <pc:chgData name="Main, Matthew" userId="708796c3-3719-47f9-94be-73f6a45de28a" providerId="ADAL" clId="{7D02F159-831D-45A6-B87E-9FC2DDD480B7}" dt="2024-01-16T18:58:57.226" v="318" actId="2696"/>
          <pc:sldLayoutMkLst>
            <pc:docMk/>
            <pc:sldMasterMk cId="2207258583" sldId="2147483712"/>
            <pc:sldLayoutMk cId="1469537090" sldId="2147483716"/>
          </pc:sldLayoutMkLst>
        </pc:sldLayoutChg>
        <pc:sldLayoutChg chg="add del">
          <pc:chgData name="Main, Matthew" userId="708796c3-3719-47f9-94be-73f6a45de28a" providerId="ADAL" clId="{7D02F159-831D-45A6-B87E-9FC2DDD480B7}" dt="2024-01-16T18:58:57.226" v="318" actId="2696"/>
          <pc:sldLayoutMkLst>
            <pc:docMk/>
            <pc:sldMasterMk cId="2207258583" sldId="2147483712"/>
            <pc:sldLayoutMk cId="2349229" sldId="2147483717"/>
          </pc:sldLayoutMkLst>
        </pc:sldLayoutChg>
        <pc:sldLayoutChg chg="add del">
          <pc:chgData name="Main, Matthew" userId="708796c3-3719-47f9-94be-73f6a45de28a" providerId="ADAL" clId="{7D02F159-831D-45A6-B87E-9FC2DDD480B7}" dt="2024-01-16T18:58:57.226" v="318" actId="2696"/>
          <pc:sldLayoutMkLst>
            <pc:docMk/>
            <pc:sldMasterMk cId="2207258583" sldId="2147483712"/>
            <pc:sldLayoutMk cId="1948146302" sldId="2147483718"/>
          </pc:sldLayoutMkLst>
        </pc:sldLayoutChg>
      </pc:sldMasterChg>
      <pc:sldMasterChg chg="add del addSldLayout delSldLayout">
        <pc:chgData name="Main, Matthew" userId="708796c3-3719-47f9-94be-73f6a45de28a" providerId="ADAL" clId="{7D02F159-831D-45A6-B87E-9FC2DDD480B7}" dt="2024-01-16T19:01:17.422" v="328" actId="2696"/>
        <pc:sldMasterMkLst>
          <pc:docMk/>
          <pc:sldMasterMk cId="1543987748" sldId="2147483719"/>
        </pc:sldMasterMkLst>
        <pc:sldLayoutChg chg="add del">
          <pc:chgData name="Main, Matthew" userId="708796c3-3719-47f9-94be-73f6a45de28a" providerId="ADAL" clId="{7D02F159-831D-45A6-B87E-9FC2DDD480B7}" dt="2024-01-16T19:01:17.422" v="328" actId="2696"/>
          <pc:sldLayoutMkLst>
            <pc:docMk/>
            <pc:sldMasterMk cId="1543987748" sldId="2147483719"/>
            <pc:sldLayoutMk cId="3266208044" sldId="2147483720"/>
          </pc:sldLayoutMkLst>
        </pc:sldLayoutChg>
        <pc:sldLayoutChg chg="add del">
          <pc:chgData name="Main, Matthew" userId="708796c3-3719-47f9-94be-73f6a45de28a" providerId="ADAL" clId="{7D02F159-831D-45A6-B87E-9FC2DDD480B7}" dt="2024-01-16T19:01:17.422" v="328" actId="2696"/>
          <pc:sldLayoutMkLst>
            <pc:docMk/>
            <pc:sldMasterMk cId="1543987748" sldId="2147483719"/>
            <pc:sldLayoutMk cId="2747964116" sldId="2147483721"/>
          </pc:sldLayoutMkLst>
        </pc:sldLayoutChg>
        <pc:sldLayoutChg chg="add del">
          <pc:chgData name="Main, Matthew" userId="708796c3-3719-47f9-94be-73f6a45de28a" providerId="ADAL" clId="{7D02F159-831D-45A6-B87E-9FC2DDD480B7}" dt="2024-01-16T19:01:17.422" v="328" actId="2696"/>
          <pc:sldLayoutMkLst>
            <pc:docMk/>
            <pc:sldMasterMk cId="1543987748" sldId="2147483719"/>
            <pc:sldLayoutMk cId="3752452730" sldId="2147483722"/>
          </pc:sldLayoutMkLst>
        </pc:sldLayoutChg>
        <pc:sldLayoutChg chg="add del">
          <pc:chgData name="Main, Matthew" userId="708796c3-3719-47f9-94be-73f6a45de28a" providerId="ADAL" clId="{7D02F159-831D-45A6-B87E-9FC2DDD480B7}" dt="2024-01-16T19:01:17.422" v="328" actId="2696"/>
          <pc:sldLayoutMkLst>
            <pc:docMk/>
            <pc:sldMasterMk cId="1543987748" sldId="2147483719"/>
            <pc:sldLayoutMk cId="463044285" sldId="2147483723"/>
          </pc:sldLayoutMkLst>
        </pc:sldLayoutChg>
        <pc:sldLayoutChg chg="add del">
          <pc:chgData name="Main, Matthew" userId="708796c3-3719-47f9-94be-73f6a45de28a" providerId="ADAL" clId="{7D02F159-831D-45A6-B87E-9FC2DDD480B7}" dt="2024-01-16T19:01:17.422" v="328" actId="2696"/>
          <pc:sldLayoutMkLst>
            <pc:docMk/>
            <pc:sldMasterMk cId="1543987748" sldId="2147483719"/>
            <pc:sldLayoutMk cId="1468787038" sldId="2147483724"/>
          </pc:sldLayoutMkLst>
        </pc:sldLayoutChg>
        <pc:sldLayoutChg chg="add del">
          <pc:chgData name="Main, Matthew" userId="708796c3-3719-47f9-94be-73f6a45de28a" providerId="ADAL" clId="{7D02F159-831D-45A6-B87E-9FC2DDD480B7}" dt="2024-01-16T19:01:17.422" v="328" actId="2696"/>
          <pc:sldLayoutMkLst>
            <pc:docMk/>
            <pc:sldMasterMk cId="1543987748" sldId="2147483719"/>
            <pc:sldLayoutMk cId="3065463323" sldId="2147483725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color</c:v>
                </c:pt>
              </c:strCache>
            </c:strRef>
          </c:tx>
          <c:spPr>
            <a:solidFill>
              <a:srgbClr val="E14307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747-AEB2-46BA132688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 color</c:v>
                </c:pt>
              </c:strCache>
            </c:strRef>
          </c:tx>
          <c:spPr>
            <a:solidFill>
              <a:srgbClr val="E18332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747-AEB2-46BA1326881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 color</c:v>
                </c:pt>
              </c:strCache>
            </c:strRef>
          </c:tx>
          <c:spPr>
            <a:solidFill>
              <a:srgbClr val="FEC745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747-AEB2-46BA1326881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 color</c:v>
                </c:pt>
              </c:strCache>
            </c:strRef>
          </c:tx>
          <c:spPr>
            <a:solidFill>
              <a:srgbClr val="01BCFF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6D0-4747-AEB2-46BA1326881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5 color</c:v>
                </c:pt>
              </c:strCache>
            </c:strRef>
          </c:tx>
          <c:spPr>
            <a:solidFill>
              <a:srgbClr val="2C77BC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4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D0-4747-AEB2-46BA1326881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6 color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6D0-4747-AEB2-46BA13268819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36D0-4747-AEB2-46BA13268819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6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6D0-4747-AEB2-46BA13268819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7 color</c:v>
                </c:pt>
              </c:strCache>
            </c:strRef>
          </c:tx>
          <c:spPr>
            <a:solidFill>
              <a:srgbClr val="8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D0-4747-AEB2-46BA13268819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H$2:$H$3</c:f>
              <c:numCache>
                <c:formatCode>General</c:formatCode>
                <c:ptCount val="2"/>
                <c:pt idx="0">
                  <c:v>4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6D0-4747-AEB2-46BA132688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78063408"/>
        <c:axId val="1298492384"/>
      </c:barChart>
      <c:catAx>
        <c:axId val="107806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98492384"/>
        <c:crosses val="autoZero"/>
        <c:auto val="1"/>
        <c:lblAlgn val="ctr"/>
        <c:lblOffset val="100"/>
        <c:noMultiLvlLbl val="0"/>
      </c:catAx>
      <c:valAx>
        <c:axId val="129849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7806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E1430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752-4194-A01D-CBE87F6C44B1}"/>
              </c:ext>
            </c:extLst>
          </c:dPt>
          <c:dPt>
            <c:idx val="1"/>
            <c:bubble3D val="0"/>
            <c:spPr>
              <a:solidFill>
                <a:srgbClr val="E1833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752-4194-A01D-CBE87F6C44B1}"/>
              </c:ext>
            </c:extLst>
          </c:dPt>
          <c:dPt>
            <c:idx val="2"/>
            <c:bubble3D val="0"/>
            <c:spPr>
              <a:solidFill>
                <a:srgbClr val="FEC74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752-4194-A01D-CBE87F6C44B1}"/>
              </c:ext>
            </c:extLst>
          </c:dPt>
          <c:dPt>
            <c:idx val="3"/>
            <c:bubble3D val="0"/>
            <c:spPr>
              <a:solidFill>
                <a:srgbClr val="01BCF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752-4194-A01D-CBE87F6C44B1}"/>
              </c:ext>
            </c:extLst>
          </c:dPt>
          <c:dPt>
            <c:idx val="4"/>
            <c:bubble3D val="0"/>
            <c:spPr>
              <a:solidFill>
                <a:srgbClr val="2C77B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752-4194-A01D-CBE87F6C44B1}"/>
              </c:ext>
            </c:extLst>
          </c:dPt>
          <c:dPt>
            <c:idx val="5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752-4194-A01D-CBE87F6C44B1}"/>
              </c:ext>
            </c:extLst>
          </c:dPt>
          <c:dPt>
            <c:idx val="6"/>
            <c:bubble3D val="0"/>
            <c:spPr>
              <a:solidFill>
                <a:srgbClr val="80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752-4194-A01D-CBE87F6C44B1}"/>
              </c:ext>
            </c:extLst>
          </c:dPt>
          <c:dPt>
            <c:idx val="7"/>
            <c:bubble3D val="0"/>
            <c:spPr>
              <a:solidFill>
                <a:srgbClr val="339F4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752-4194-A01D-CBE87F6C44B1}"/>
              </c:ext>
            </c:extLst>
          </c:dPt>
          <c:cat>
            <c:strRef>
              <c:f>Sheet1!$A$2:$A$9</c:f>
              <c:strCache>
                <c:ptCount val="8"/>
                <c:pt idx="0">
                  <c:v>1 color</c:v>
                </c:pt>
                <c:pt idx="1">
                  <c:v>2 color</c:v>
                </c:pt>
                <c:pt idx="2">
                  <c:v>3 color</c:v>
                </c:pt>
                <c:pt idx="3">
                  <c:v>4 color</c:v>
                </c:pt>
                <c:pt idx="4">
                  <c:v>5 color</c:v>
                </c:pt>
                <c:pt idx="5">
                  <c:v>6 color</c:v>
                </c:pt>
                <c:pt idx="6">
                  <c:v>7 color</c:v>
                </c:pt>
                <c:pt idx="7">
                  <c:v>8 color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2752-4194-A01D-CBE87F6C4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12-20T16:12:13.15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7208 75,'-2'2,"0"0,0 0,0-1,-1 1,1 0,0-1,-1 0,0 1,1-1,-1 0,0 0,1 0,-1-1,0 1,0-1,-4 1,-3 1,-67 21,-288 69,343-89,1 0,-1-2,0-1,0-1,1 0,-1-2,1 0,-1-2,1 0,0-1,1-1,-25-13,26 11,-1 1,0 1,-1 1,1 0,-1 2,0 0,0 1,-1 2,-28 0,7 2,6 1,0-2,-1-1,1-2,-39-8,26 0,-1 2,0 2,-94 0,95 7,-1 2,0 3,-79 16,73-10,-1-4,-1-1,1-4,-79-6,12 2,50 1,-85 3,90 9,50-6,-1-2,-32 2,-12-4,-129-4,53-19,99 13,-1 2,-61-2,14 11,-78-4,99-9,48 6,0 2,-32-2,14 4,-1-1,-46-8,-103-19,94 22,-21-5,53 5,1 2,-118 6,61 2,-7-5,-142 4,237 2,1 1,0 2,1 1,-40 15,41-12,0-2,-1 0,0-3,-49 6,51-9,1 1,-45 13,47-10,-1-2,1 0,-38 2,-393-7,204-1,224-1,-52-9,51 6,-50-2,-50 9,-96-4,204 0,0-2,0 0,-34-12,40 1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58AABE-D4FD-4820-BBE6-74D59E3311E5}" type="datetimeFigureOut">
              <a:rPr lang="en-US" smtClean="0"/>
              <a:t>1/1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02F22C-0646-4F13-8918-0725A57622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79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2D342-E7CF-4F91-AF6D-4BDF800D14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57148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2D342-E7CF-4F91-AF6D-4BDF800D14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6095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2D342-E7CF-4F91-AF6D-4BDF800D14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7693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2D342-E7CF-4F91-AF6D-4BDF800D14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05428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.jpg"/><Relationship Id="rId5" Type="http://schemas.openxmlformats.org/officeDocument/2006/relationships/image" Target="../media/image5.png"/><Relationship Id="rId10" Type="http://schemas.openxmlformats.org/officeDocument/2006/relationships/image" Target="../media/image8.svg"/><Relationship Id="rId4" Type="http://schemas.openxmlformats.org/officeDocument/2006/relationships/image" Target="../media/image4.emf"/><Relationship Id="rId9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.jpg"/><Relationship Id="rId5" Type="http://schemas.openxmlformats.org/officeDocument/2006/relationships/image" Target="../media/image9.emf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.jp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.jp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F7D4-492E-43AB-8EBD-78BC7D879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99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F7D4-492E-43AB-8EBD-78BC7D879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02F97CAD-A4B6-497D-B24E-7AFBCD7ECD3B}"/>
              </a:ext>
            </a:extLst>
          </p:cNvPr>
          <p:cNvSpPr/>
          <p:nvPr userDrawn="1"/>
        </p:nvSpPr>
        <p:spPr>
          <a:xfrm>
            <a:off x="0" y="-1905"/>
            <a:ext cx="12192000" cy="20402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7360" y="1624523"/>
            <a:ext cx="5500405" cy="1804478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54570" y="3561752"/>
            <a:ext cx="5500405" cy="5811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rgbClr val="0070C0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" name="Picture 23" descr="Text&#10;&#10;Description automatically generated with medium confidence">
            <a:extLst>
              <a:ext uri="{FF2B5EF4-FFF2-40B4-BE49-F238E27FC236}">
                <a16:creationId xmlns:a16="http://schemas.microsoft.com/office/drawing/2014/main" id="{F8FC9534-51DB-4260-BC9B-6C10D44804E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1573" y="5657940"/>
            <a:ext cx="2567473" cy="962803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984F43B-1BE2-4CD7-8638-9BED1D589D7B}"/>
              </a:ext>
            </a:extLst>
          </p:cNvPr>
          <p:cNvCxnSpPr>
            <a:cxnSpLocks/>
          </p:cNvCxnSpPr>
          <p:nvPr userDrawn="1"/>
        </p:nvCxnSpPr>
        <p:spPr>
          <a:xfrm>
            <a:off x="1106244" y="5588878"/>
            <a:ext cx="10441521" cy="0"/>
          </a:xfrm>
          <a:prstGeom prst="line">
            <a:avLst/>
          </a:prstGeom>
          <a:ln w="127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 descr="A close up of a wood surface&#10;&#10;Description automatically generated with low confidence">
            <a:extLst>
              <a:ext uri="{FF2B5EF4-FFF2-40B4-BE49-F238E27FC236}">
                <a16:creationId xmlns:a16="http://schemas.microsoft.com/office/drawing/2014/main" id="{D4422222-FCAE-49F0-BC62-6F9534B09C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5" t="1225" r="943" b="52375"/>
          <a:stretch/>
        </p:blipFill>
        <p:spPr>
          <a:xfrm rot="10800000" flipH="1">
            <a:off x="-99700" y="0"/>
            <a:ext cx="872715" cy="6858000"/>
          </a:xfrm>
          <a:prstGeom prst="rect">
            <a:avLst/>
          </a:prstGeom>
        </p:spPr>
      </p:pic>
      <p:pic>
        <p:nvPicPr>
          <p:cNvPr id="29" name="Picture 28" descr="Logo&#10;&#10;Description automatically generated with medium confidence">
            <a:extLst>
              <a:ext uri="{FF2B5EF4-FFF2-40B4-BE49-F238E27FC236}">
                <a16:creationId xmlns:a16="http://schemas.microsoft.com/office/drawing/2014/main" id="{0D443D97-0D1A-4AF6-B72D-2D4FE8BC11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6973" b="4485"/>
          <a:stretch/>
        </p:blipFill>
        <p:spPr>
          <a:xfrm>
            <a:off x="1011531" y="1969594"/>
            <a:ext cx="4432273" cy="1649690"/>
          </a:xfrm>
          <a:prstGeom prst="rect">
            <a:avLst/>
          </a:prstGeom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2F97F3F-AF52-4FD1-92A2-6BCC381DF226}"/>
              </a:ext>
            </a:extLst>
          </p:cNvPr>
          <p:cNvCxnSpPr>
            <a:cxnSpLocks/>
          </p:cNvCxnSpPr>
          <p:nvPr userDrawn="1"/>
        </p:nvCxnSpPr>
        <p:spPr>
          <a:xfrm>
            <a:off x="5749186" y="1698527"/>
            <a:ext cx="0" cy="2167357"/>
          </a:xfrm>
          <a:prstGeom prst="line">
            <a:avLst/>
          </a:prstGeom>
          <a:ln>
            <a:solidFill>
              <a:srgbClr val="3676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F646AC25-CF32-4BCC-B4B8-1F4AA3CE3D37}"/>
              </a:ext>
            </a:extLst>
          </p:cNvPr>
          <p:cNvSpPr txBox="1"/>
          <p:nvPr userDrawn="1"/>
        </p:nvSpPr>
        <p:spPr>
          <a:xfrm>
            <a:off x="10856672" y="6439695"/>
            <a:ext cx="773354" cy="27699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en-US" sz="1200" dirty="0">
                <a:latin typeface="+mj-lt"/>
                <a:cs typeface="Arial" panose="020B0604020202020204" pitchFamily="34" charset="0"/>
              </a:rPr>
              <a:t>fcx.com</a:t>
            </a:r>
          </a:p>
        </p:txBody>
      </p:sp>
      <p:pic>
        <p:nvPicPr>
          <p:cNvPr id="13" name="Picture 12" descr="Shape&#10;&#10;Description automatically generated with low confidence">
            <a:extLst>
              <a:ext uri="{FF2B5EF4-FFF2-40B4-BE49-F238E27FC236}">
                <a16:creationId xmlns:a16="http://schemas.microsoft.com/office/drawing/2014/main" id="{BFA10083-0C1A-4CC3-A910-2928392765C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763" y="5974111"/>
            <a:ext cx="465864" cy="469494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3392791-DE4D-4F71-B7B3-89FE9E35118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866857" y="6037132"/>
            <a:ext cx="1244774" cy="40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047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blank tex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132DD1-6B33-4309-82A8-752481CA67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670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132DD1-6B33-4309-82A8-752481CA6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4DF4BA91-A2A2-4736-95CB-1BD645CC23F2}"/>
              </a:ext>
            </a:extLst>
          </p:cNvPr>
          <p:cNvCxnSpPr>
            <a:cxnSpLocks/>
          </p:cNvCxnSpPr>
          <p:nvPr userDrawn="1"/>
        </p:nvCxnSpPr>
        <p:spPr>
          <a:xfrm>
            <a:off x="986729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9998861-0A5F-4954-B8BE-DF0F6A1F425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539745"/>
            <a:ext cx="0" cy="1446101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DB510F7-909D-4B7F-B125-397D738514D0}"/>
              </a:ext>
            </a:extLst>
          </p:cNvPr>
          <p:cNvCxnSpPr>
            <a:cxnSpLocks/>
          </p:cNvCxnSpPr>
          <p:nvPr userDrawn="1"/>
        </p:nvCxnSpPr>
        <p:spPr>
          <a:xfrm flipH="1">
            <a:off x="2795954" y="3319673"/>
            <a:ext cx="6547128" cy="14028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052774F6-69CD-4B05-9AA2-D50CCFE57E31}"/>
              </a:ext>
            </a:extLst>
          </p:cNvPr>
          <p:cNvSpPr/>
          <p:nvPr userDrawn="1"/>
        </p:nvSpPr>
        <p:spPr>
          <a:xfrm>
            <a:off x="0" y="1139967"/>
            <a:ext cx="12192000" cy="1738327"/>
          </a:xfrm>
          <a:prstGeom prst="rect">
            <a:avLst/>
          </a:prstGeom>
          <a:solidFill>
            <a:schemeClr val="accent6">
              <a:lumMod val="20000"/>
              <a:lumOff val="8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4240752-EDEA-41D7-89DB-252A470E04F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139967"/>
            <a:ext cx="0" cy="2931388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5">
            <a:extLst>
              <a:ext uri="{FF2B5EF4-FFF2-40B4-BE49-F238E27FC236}">
                <a16:creationId xmlns:a16="http://schemas.microsoft.com/office/drawing/2014/main" id="{F1FA932B-1BFD-44EB-99B4-5A9C1DB140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06345" y="1286313"/>
            <a:ext cx="5420021" cy="128478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>
                <a:latin typeface="+mj-lt"/>
              </a:defRPr>
            </a:lvl1pPr>
            <a:lvl2pPr>
              <a:buClr>
                <a:srgbClr val="BB5D00"/>
              </a:buClr>
              <a:defRPr sz="1800">
                <a:latin typeface="+mj-lt"/>
              </a:defRPr>
            </a:lvl2pPr>
            <a:lvl3pPr marL="804862" indent="-342900">
              <a:buClr>
                <a:srgbClr val="BB5D00"/>
              </a:buClr>
              <a:buFont typeface="Courier New" panose="02070309020205020404" pitchFamily="49" charset="0"/>
              <a:buChar char="o"/>
              <a:defRPr sz="1800">
                <a:latin typeface="+mj-lt"/>
              </a:defRPr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97811" y="6507849"/>
            <a:ext cx="7363977" cy="28906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1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8751137-A964-4A57-9A4A-680957F99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382159"/>
            <a:ext cx="9680953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4B92207-A3E0-4D30-B754-7BD03F890EA2}"/>
              </a:ext>
            </a:extLst>
          </p:cNvPr>
          <p:cNvSpPr/>
          <p:nvPr userDrawn="1"/>
        </p:nvSpPr>
        <p:spPr>
          <a:xfrm>
            <a:off x="130839" y="5122546"/>
            <a:ext cx="1711780" cy="96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91E0F9B-17A1-4742-BBEA-18FD4100958D}"/>
              </a:ext>
            </a:extLst>
          </p:cNvPr>
          <p:cNvSpPr/>
          <p:nvPr userDrawn="1"/>
        </p:nvSpPr>
        <p:spPr>
          <a:xfrm>
            <a:off x="4672805" y="2695369"/>
            <a:ext cx="2846389" cy="1431131"/>
          </a:xfrm>
          <a:prstGeom prst="rect">
            <a:avLst/>
          </a:prstGeom>
          <a:solidFill>
            <a:srgbClr val="2C77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38" name="Content Placeholder 5">
            <a:extLst>
              <a:ext uri="{FF2B5EF4-FFF2-40B4-BE49-F238E27FC236}">
                <a16:creationId xmlns:a16="http://schemas.microsoft.com/office/drawing/2014/main" id="{CDA47430-F8D5-4F07-A45B-86AEC1038F3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631279" y="1258702"/>
            <a:ext cx="5375132" cy="137848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>
                <a:latin typeface="+mj-lt"/>
              </a:defRPr>
            </a:lvl1pPr>
            <a:lvl2pPr>
              <a:buClr>
                <a:srgbClr val="BB5D00"/>
              </a:buClr>
              <a:defRPr sz="1800">
                <a:latin typeface="+mj-lt"/>
              </a:defRPr>
            </a:lvl2pPr>
            <a:lvl3pPr marL="804862" indent="-342900">
              <a:buClr>
                <a:srgbClr val="BB5D00"/>
              </a:buClr>
              <a:buFont typeface="Courier New" panose="02070309020205020404" pitchFamily="49" charset="0"/>
              <a:buChar char="o"/>
              <a:defRPr sz="1800">
                <a:latin typeface="+mj-lt"/>
              </a:defRPr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2BF3A96-C10D-481B-B7D7-7378A143A0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3508" y="2858367"/>
            <a:ext cx="2578359" cy="1112509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0F6F3D3-1D9F-4009-91D2-AD6A281F1E70}"/>
              </a:ext>
            </a:extLst>
          </p:cNvPr>
          <p:cNvCxnSpPr>
            <a:cxnSpLocks/>
          </p:cNvCxnSpPr>
          <p:nvPr userDrawn="1"/>
        </p:nvCxnSpPr>
        <p:spPr>
          <a:xfrm>
            <a:off x="2795954" y="3319673"/>
            <a:ext cx="0" cy="1944745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9DF5748C-833B-4C7D-A7FD-C83C6CBED9B5}"/>
              </a:ext>
            </a:extLst>
          </p:cNvPr>
          <p:cNvSpPr/>
          <p:nvPr userDrawn="1"/>
        </p:nvSpPr>
        <p:spPr>
          <a:xfrm>
            <a:off x="1283676" y="3840258"/>
            <a:ext cx="3024554" cy="96129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F43AF7-9766-4038-BF82-554F2B07497D}"/>
              </a:ext>
            </a:extLst>
          </p:cNvPr>
          <p:cNvSpPr/>
          <p:nvPr userDrawn="1"/>
        </p:nvSpPr>
        <p:spPr>
          <a:xfrm>
            <a:off x="1940063" y="5122546"/>
            <a:ext cx="1711780" cy="96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973B15DC-252E-4A5A-BF03-D27EDB410F4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1442513" y="3893626"/>
            <a:ext cx="270688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DEC8FF88-B71B-41B5-AC00-168A2E5166CE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215659" y="5196483"/>
            <a:ext cx="154214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7D216F02-569A-49FD-9C4D-7D73017830D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2001162" y="5196483"/>
            <a:ext cx="154214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48E157A5-F1FB-4A99-9B17-594E2875C801}"/>
              </a:ext>
            </a:extLst>
          </p:cNvPr>
          <p:cNvCxnSpPr>
            <a:cxnSpLocks/>
          </p:cNvCxnSpPr>
          <p:nvPr userDrawn="1"/>
        </p:nvCxnSpPr>
        <p:spPr>
          <a:xfrm flipH="1">
            <a:off x="986729" y="4960414"/>
            <a:ext cx="3611130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BA69A6C8-BBBA-4A5A-BD8E-4F2863C7A10B}"/>
              </a:ext>
            </a:extLst>
          </p:cNvPr>
          <p:cNvCxnSpPr>
            <a:cxnSpLocks/>
          </p:cNvCxnSpPr>
          <p:nvPr userDrawn="1"/>
        </p:nvCxnSpPr>
        <p:spPr>
          <a:xfrm>
            <a:off x="4597859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C21CD03D-DAF3-4B68-9DAA-9279D235C59F}"/>
              </a:ext>
            </a:extLst>
          </p:cNvPr>
          <p:cNvSpPr/>
          <p:nvPr userDrawn="1"/>
        </p:nvSpPr>
        <p:spPr>
          <a:xfrm>
            <a:off x="3741969" y="5122546"/>
            <a:ext cx="1711780" cy="96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F1E28928-A85C-4454-8E07-56AD06E6BACF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3826789" y="5196483"/>
            <a:ext cx="154214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6D2E2D0-8215-46A3-AD69-C5AFAEF00569}"/>
              </a:ext>
            </a:extLst>
          </p:cNvPr>
          <p:cNvCxnSpPr>
            <a:cxnSpLocks/>
          </p:cNvCxnSpPr>
          <p:nvPr userDrawn="1"/>
        </p:nvCxnSpPr>
        <p:spPr>
          <a:xfrm>
            <a:off x="7527429" y="4949116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9F6E2181-ED29-490C-AB34-125262619C19}"/>
              </a:ext>
            </a:extLst>
          </p:cNvPr>
          <p:cNvSpPr/>
          <p:nvPr userDrawn="1"/>
        </p:nvSpPr>
        <p:spPr>
          <a:xfrm>
            <a:off x="6671539" y="5123382"/>
            <a:ext cx="1711780" cy="96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DB5D549-495F-4858-B322-93010E4861D7}"/>
              </a:ext>
            </a:extLst>
          </p:cNvPr>
          <p:cNvCxnSpPr>
            <a:cxnSpLocks/>
          </p:cNvCxnSpPr>
          <p:nvPr userDrawn="1"/>
        </p:nvCxnSpPr>
        <p:spPr>
          <a:xfrm>
            <a:off x="9336654" y="3320509"/>
            <a:ext cx="0" cy="1944745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30ED4439-13DE-479E-A463-246F49A524CB}"/>
              </a:ext>
            </a:extLst>
          </p:cNvPr>
          <p:cNvSpPr/>
          <p:nvPr userDrawn="1"/>
        </p:nvSpPr>
        <p:spPr>
          <a:xfrm>
            <a:off x="7824376" y="3841094"/>
            <a:ext cx="3024554" cy="96129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375DF85-9F61-4788-9BED-D3DBE454A64F}"/>
              </a:ext>
            </a:extLst>
          </p:cNvPr>
          <p:cNvSpPr/>
          <p:nvPr userDrawn="1"/>
        </p:nvSpPr>
        <p:spPr>
          <a:xfrm>
            <a:off x="8480763" y="5123382"/>
            <a:ext cx="1711780" cy="96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 dirty="0">
              <a:latin typeface="+mj-lt"/>
            </a:endParaRP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EEDAD94D-E1FB-4D24-A8B3-449950C2AED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83213" y="3894462"/>
            <a:ext cx="270688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728B71F6-9F1B-41DB-8D19-B0731D26E2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56359" y="5197319"/>
            <a:ext cx="154214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85" name="Text Placeholder 4">
            <a:extLst>
              <a:ext uri="{FF2B5EF4-FFF2-40B4-BE49-F238E27FC236}">
                <a16:creationId xmlns:a16="http://schemas.microsoft.com/office/drawing/2014/main" id="{667487F2-4941-46C6-9FB0-2C531469B3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41862" y="5197319"/>
            <a:ext cx="154214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9A90B50-AEC3-4FC8-980D-AF91F3CBB90E}"/>
              </a:ext>
            </a:extLst>
          </p:cNvPr>
          <p:cNvCxnSpPr>
            <a:cxnSpLocks/>
          </p:cNvCxnSpPr>
          <p:nvPr userDrawn="1"/>
        </p:nvCxnSpPr>
        <p:spPr>
          <a:xfrm flipH="1">
            <a:off x="7527429" y="4961250"/>
            <a:ext cx="3611130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56006CEA-F0ED-4ED3-BF84-B157B5ADB00A}"/>
              </a:ext>
            </a:extLst>
          </p:cNvPr>
          <p:cNvCxnSpPr>
            <a:cxnSpLocks/>
          </p:cNvCxnSpPr>
          <p:nvPr userDrawn="1"/>
        </p:nvCxnSpPr>
        <p:spPr>
          <a:xfrm>
            <a:off x="11138559" y="4949116"/>
            <a:ext cx="0" cy="422796"/>
          </a:xfrm>
          <a:prstGeom prst="line">
            <a:avLst/>
          </a:prstGeom>
          <a:ln w="19050">
            <a:solidFill>
              <a:srgbClr val="3954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4B818BFA-42E5-4866-B523-39CFE9BB711E}"/>
              </a:ext>
            </a:extLst>
          </p:cNvPr>
          <p:cNvSpPr/>
          <p:nvPr userDrawn="1"/>
        </p:nvSpPr>
        <p:spPr>
          <a:xfrm>
            <a:off x="10282669" y="5123382"/>
            <a:ext cx="1711780" cy="96129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>
              <a:latin typeface="+mj-lt"/>
            </a:endParaRPr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16783C8E-525C-4200-BC40-71437B30C9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367490" y="5197319"/>
            <a:ext cx="1337332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Slide Number Placeholder 5">
            <a:extLst>
              <a:ext uri="{FF2B5EF4-FFF2-40B4-BE49-F238E27FC236}">
                <a16:creationId xmlns:a16="http://schemas.microsoft.com/office/drawing/2014/main" id="{A0A362C1-BDFF-4C59-B0A4-A0DC17BEF7E4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252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AC184B6-8E5F-4DCD-82CC-5E3D357DA5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065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AC184B6-8E5F-4DCD-82CC-5E3D357DA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A0A69D-9160-5E4B-A5D8-01020EE0E9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386348"/>
            <a:ext cx="6172200" cy="447470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24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628650" indent="-342900">
              <a:buClr>
                <a:srgbClr val="DF572A"/>
              </a:buClr>
              <a:defRPr lang="en-US" sz="22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804862" indent="-342900">
              <a:buClr>
                <a:srgbClr val="DF572A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031875" indent="-342900">
              <a:buClr>
                <a:srgbClr val="DF572A"/>
              </a:buClr>
              <a:defRPr lang="en-US" sz="18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>
              <a:buClr>
                <a:srgbClr val="DF572A"/>
              </a:buCl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marL="571500" lvl="1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‒"/>
            </a:pPr>
            <a:r>
              <a:rPr lang="en-US" dirty="0"/>
              <a:t>Second level</a:t>
            </a:r>
          </a:p>
          <a:p>
            <a:pPr marL="688975" lvl="2" indent="-2270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  <a:p>
            <a:pPr marL="914400" lvl="3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95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D78420-F087-474C-9203-5D73EC4C87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386348"/>
            <a:ext cx="3932237" cy="44826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6B0335-55AA-A44C-9C89-813457DB99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82784" y="6493998"/>
            <a:ext cx="2743200" cy="365125"/>
          </a:xfrm>
        </p:spPr>
        <p:txBody>
          <a:bodyPr>
            <a:noAutofit/>
          </a:bodyPr>
          <a:lstStyle>
            <a:lvl1pPr>
              <a:defRPr sz="90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829D9C-64D8-3841-9C54-079F29D47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3998"/>
            <a:ext cx="4114800" cy="365125"/>
          </a:xfrm>
        </p:spPr>
        <p:txBody>
          <a:bodyPr>
            <a:noAutofit/>
          </a:bodyPr>
          <a:lstStyle>
            <a:lvl1pPr>
              <a:defRPr sz="900"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6D1738A-1F8B-435C-9DC7-77F58418B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4" y="365125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9BDC5CE-E51A-4EBE-8D25-4008ABD043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5905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23C1FB-B71D-4B41-87C5-4DE6B7000D10}"/>
              </a:ext>
            </a:extLst>
          </p:cNvPr>
          <p:cNvSpPr/>
          <p:nvPr userDrawn="1"/>
        </p:nvSpPr>
        <p:spPr>
          <a:xfrm rot="5400000">
            <a:off x="7915755" y="2672357"/>
            <a:ext cx="6941130" cy="143015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8831" dist="38100" dir="5400000" sx="99255" sy="99255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C39D67-BBE6-4ABD-AC6C-64B022DEB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36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C39D67-BBE6-4ABD-AC6C-64B022DEB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11DAB44-3933-4383-A7E8-C2260715D422}"/>
              </a:ext>
            </a:extLst>
          </p:cNvPr>
          <p:cNvSpPr/>
          <p:nvPr userDrawn="1"/>
        </p:nvSpPr>
        <p:spPr>
          <a:xfrm>
            <a:off x="0" y="-83127"/>
            <a:ext cx="12192001" cy="6941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0048B-215C-2742-B3BD-2C887A2EE1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966561" y="613186"/>
            <a:ext cx="8221435" cy="5397247"/>
          </a:xfrm>
          <a:prstGeom prst="rect">
            <a:avLst/>
          </a:prstGeom>
        </p:spPr>
        <p:txBody>
          <a:bodyPr vert="eaVert">
            <a:noAutofit/>
          </a:bodyPr>
          <a:lstStyle>
            <a:lvl1pPr>
              <a:defRPr sz="2400">
                <a:solidFill>
                  <a:schemeClr val="tx1"/>
                </a:solidFill>
                <a:latin typeface="+mj-lt"/>
              </a:defRPr>
            </a:lvl1pPr>
            <a:lvl2pPr marL="628650" indent="-342900">
              <a:defRPr lang="en-US" sz="22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804862" indent="-342900">
              <a:buClr>
                <a:srgbClr val="BB5D00"/>
              </a:buClr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031875" indent="-342900">
              <a:buClr>
                <a:srgbClr val="BB5D00"/>
              </a:buClr>
              <a:defRPr lang="en-US" sz="18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>
              <a:buClr>
                <a:srgbClr val="BB5D00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571500" lvl="1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‒"/>
            </a:pPr>
            <a:r>
              <a:rPr lang="en-US" dirty="0"/>
              <a:t>Second level</a:t>
            </a:r>
          </a:p>
          <a:p>
            <a:pPr marL="688975" lvl="2" indent="-2270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  <a:p>
            <a:pPr marL="914400" lvl="3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95000"/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FA6E46B-8646-4537-AA80-3EBD1F240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-313625" y="6239745"/>
            <a:ext cx="945677" cy="2962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56771AEE-C76D-499A-99C6-64134E39A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8669399" y="2333944"/>
            <a:ext cx="5035705" cy="8022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F30B730-1E97-4E57-8F15-45C9CC9F084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826477" y="3313432"/>
            <a:ext cx="2377440" cy="14801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2363DDA-A825-478D-B256-2590271C0669}"/>
              </a:ext>
            </a:extLst>
          </p:cNvPr>
          <p:cNvCxnSpPr>
            <a:cxnSpLocks/>
          </p:cNvCxnSpPr>
          <p:nvPr userDrawn="1"/>
        </p:nvCxnSpPr>
        <p:spPr>
          <a:xfrm>
            <a:off x="10658008" y="-83131"/>
            <a:ext cx="0" cy="6941130"/>
          </a:xfrm>
          <a:prstGeom prst="line">
            <a:avLst/>
          </a:prstGeom>
          <a:ln w="25400">
            <a:solidFill>
              <a:srgbClr val="DA7C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A close up of a wood surface&#10;&#10;Description automatically generated with low confidence">
            <a:extLst>
              <a:ext uri="{FF2B5EF4-FFF2-40B4-BE49-F238E27FC236}">
                <a16:creationId xmlns:a16="http://schemas.microsoft.com/office/drawing/2014/main" id="{CFC2E101-5906-4940-B834-13D693E6D4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6" t="1225" r="64259" b="44"/>
          <a:stretch/>
        </p:blipFill>
        <p:spPr>
          <a:xfrm>
            <a:off x="11895755" y="-83131"/>
            <a:ext cx="296247" cy="6941129"/>
          </a:xfrm>
          <a:prstGeom prst="rect">
            <a:avLst/>
          </a:prstGeom>
        </p:spPr>
      </p:pic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75A88843-4D60-44D8-A306-4D82449940A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859809" y="3251014"/>
            <a:ext cx="2387595" cy="255067"/>
          </a:xfrm>
          <a:prstGeom prst="rect">
            <a:avLst/>
          </a:prstGeom>
        </p:spPr>
      </p:pic>
      <p:pic>
        <p:nvPicPr>
          <p:cNvPr id="23" name="Picture 22" descr="Logo&#10;&#10;Description automatically generated with medium confidence">
            <a:extLst>
              <a:ext uri="{FF2B5EF4-FFF2-40B4-BE49-F238E27FC236}">
                <a16:creationId xmlns:a16="http://schemas.microsoft.com/office/drawing/2014/main" id="{2E44E882-3CDB-49D4-ABEB-45ACCF62BEF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5400000">
            <a:off x="10596914" y="5819865"/>
            <a:ext cx="1323729" cy="556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4022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 Risk Ev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9">
            <a:extLst>
              <a:ext uri="{FF2B5EF4-FFF2-40B4-BE49-F238E27FC236}">
                <a16:creationId xmlns:a16="http://schemas.microsoft.com/office/drawing/2014/main" id="{3CB44BE4-315C-403E-89DC-59ED94E35F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3723" y="273979"/>
            <a:ext cx="462455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High Risk Event:</a:t>
            </a:r>
          </a:p>
        </p:txBody>
      </p:sp>
      <p:graphicFrame>
        <p:nvGraphicFramePr>
          <p:cNvPr id="27" name="Table 2">
            <a:extLst>
              <a:ext uri="{FF2B5EF4-FFF2-40B4-BE49-F238E27FC236}">
                <a16:creationId xmlns:a16="http://schemas.microsoft.com/office/drawing/2014/main" id="{2E2CDC08-4430-4340-B351-E835113BC20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9483865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C146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7BB7579B-44CB-4F79-A03B-A82982384F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4D3A16F-CF2D-41B9-B8B2-19302DB85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4D667B8-73E8-4470-B9A7-980474805E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880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4765564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580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Safety Alert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5601" y="269826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5500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31362595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00150" y="330767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afety Success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1284" y="273247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7396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36132" y="31983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Potential Fatal Event: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9970122C-C8E4-4720-A69A-0E2F32A475B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6078" y="1404939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D978F47B-038C-4D2F-909F-84865B87DB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61367" y="1400177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9" name="Picture Placeholder 47">
            <a:extLst>
              <a:ext uri="{FF2B5EF4-FFF2-40B4-BE49-F238E27FC236}">
                <a16:creationId xmlns:a16="http://schemas.microsoft.com/office/drawing/2014/main" id="{783014AD-39D1-40FB-92B9-9AD8139F51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009896" y="4057843"/>
            <a:ext cx="4073285" cy="179050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DE4C36A2-1234-4698-B62A-3D670FAC5B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461365" y="3752850"/>
            <a:ext cx="2409824" cy="236484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7" name="Text Placeholder 65">
            <a:extLst>
              <a:ext uri="{FF2B5EF4-FFF2-40B4-BE49-F238E27FC236}">
                <a16:creationId xmlns:a16="http://schemas.microsoft.com/office/drawing/2014/main" id="{DA7919E0-CDAF-4C96-A481-21EDB869AC0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201111" y="3769573"/>
            <a:ext cx="2414791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8" name="Text Placeholder 65">
            <a:extLst>
              <a:ext uri="{FF2B5EF4-FFF2-40B4-BE49-F238E27FC236}">
                <a16:creationId xmlns:a16="http://schemas.microsoft.com/office/drawing/2014/main" id="{B1C85E3C-04FA-424C-98CB-D6401A4A997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009896" y="5855288"/>
            <a:ext cx="4073285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6A18137-DC09-48E5-83F3-BDB8A8DC651C}"/>
              </a:ext>
            </a:extLst>
          </p:cNvPr>
          <p:cNvSpPr txBox="1"/>
          <p:nvPr userDrawn="1"/>
        </p:nvSpPr>
        <p:spPr>
          <a:xfrm>
            <a:off x="3049954" y="3218934"/>
            <a:ext cx="60999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3" name="Table 2">
            <a:extLst>
              <a:ext uri="{FF2B5EF4-FFF2-40B4-BE49-F238E27FC236}">
                <a16:creationId xmlns:a16="http://schemas.microsoft.com/office/drawing/2014/main" id="{4013CCEF-D53D-4F7F-906A-48E4D26AD87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22119393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34" name="Title 9">
            <a:extLst>
              <a:ext uri="{FF2B5EF4-FFF2-40B4-BE49-F238E27FC236}">
                <a16:creationId xmlns:a16="http://schemas.microsoft.com/office/drawing/2014/main" id="{7CCF051D-2A8C-4AE0-8753-2ABC96B21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703" y="269826"/>
            <a:ext cx="426057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5109801-6542-48D8-AAC2-C3178335A8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B23D135D-4B5B-4F66-A089-FBB24E6E69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37B7C0B6-7241-4A0D-8684-E0D37A9EA0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8849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CB6E976-3DD2-4C8B-96A5-F278486EF836}"/>
              </a:ext>
            </a:extLst>
          </p:cNvPr>
          <p:cNvSpPr txBox="1">
            <a:spLocks/>
          </p:cNvSpPr>
          <p:nvPr userDrawn="1"/>
        </p:nvSpPr>
        <p:spPr>
          <a:xfrm>
            <a:off x="5470467" y="6421684"/>
            <a:ext cx="131202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6BC511-10EB-484C-B18D-C6EFEBCBF01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9">
            <a:extLst>
              <a:ext uri="{FF2B5EF4-FFF2-40B4-BE49-F238E27FC236}">
                <a16:creationId xmlns:a16="http://schemas.microsoft.com/office/drawing/2014/main" id="{3BFCDD63-0882-4AF8-820A-360A06F8C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909" y="381197"/>
            <a:ext cx="3640834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273A34C-07F0-4691-8E99-F0756E0711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6EB889-76E0-4655-9CB3-43B72F254E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pic>
        <p:nvPicPr>
          <p:cNvPr id="14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3E08659-9A13-4582-8CBD-C371CE8AF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7779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41800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 Risk Ev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9">
            <a:extLst>
              <a:ext uri="{FF2B5EF4-FFF2-40B4-BE49-F238E27FC236}">
                <a16:creationId xmlns:a16="http://schemas.microsoft.com/office/drawing/2014/main" id="{3CB44BE4-315C-403E-89DC-59ED94E35F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3723" y="273979"/>
            <a:ext cx="462455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High Risk Event:</a:t>
            </a:r>
          </a:p>
        </p:txBody>
      </p:sp>
      <p:graphicFrame>
        <p:nvGraphicFramePr>
          <p:cNvPr id="27" name="Table 2">
            <a:extLst>
              <a:ext uri="{FF2B5EF4-FFF2-40B4-BE49-F238E27FC236}">
                <a16:creationId xmlns:a16="http://schemas.microsoft.com/office/drawing/2014/main" id="{2E2CDC08-4430-4340-B351-E835113BC20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9483865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C146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7BB7579B-44CB-4F79-A03B-A82982384F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4D3A16F-CF2D-41B9-B8B2-19302DB85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4D667B8-73E8-4470-B9A7-980474805E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942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ppendi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21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7632" y="1698527"/>
            <a:ext cx="5324678" cy="2167357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Appendix</a:t>
            </a:r>
          </a:p>
        </p:txBody>
      </p:sp>
      <p:pic>
        <p:nvPicPr>
          <p:cNvPr id="12" name="Picture 11" descr="Text&#10;&#10;Description automatically generated with medium confidence">
            <a:extLst>
              <a:ext uri="{FF2B5EF4-FFF2-40B4-BE49-F238E27FC236}">
                <a16:creationId xmlns:a16="http://schemas.microsoft.com/office/drawing/2014/main" id="{BEFB49D2-B17C-4BA4-9394-EE5B2E0F75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1573" y="5657940"/>
            <a:ext cx="2567473" cy="96280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3E525BD1-398E-42F1-B305-083DA74A575B}"/>
              </a:ext>
            </a:extLst>
          </p:cNvPr>
          <p:cNvGrpSpPr/>
          <p:nvPr userDrawn="1"/>
        </p:nvGrpSpPr>
        <p:grpSpPr>
          <a:xfrm>
            <a:off x="-98636" y="3177"/>
            <a:ext cx="12291700" cy="6854824"/>
            <a:chOff x="-99700" y="0"/>
            <a:chExt cx="12291700" cy="687766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829CE93-B435-45A5-8F92-72FDBAABB912}"/>
                </a:ext>
              </a:extLst>
            </p:cNvPr>
            <p:cNvSpPr/>
            <p:nvPr userDrawn="1"/>
          </p:nvSpPr>
          <p:spPr>
            <a:xfrm>
              <a:off x="-98636" y="0"/>
              <a:ext cx="4454265" cy="68776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latin typeface="+mj-lt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B7840D2-155F-43AA-86BE-2EA8A0E38576}"/>
                </a:ext>
              </a:extLst>
            </p:cNvPr>
            <p:cNvSpPr/>
            <p:nvPr userDrawn="1"/>
          </p:nvSpPr>
          <p:spPr>
            <a:xfrm>
              <a:off x="-98636" y="0"/>
              <a:ext cx="12290636" cy="13112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latin typeface="+mj-lt"/>
              </a:endParaRPr>
            </a:p>
          </p:txBody>
        </p:sp>
        <p:pic>
          <p:nvPicPr>
            <p:cNvPr id="17" name="Picture 16" descr="A close up of a wood surface&#10;&#10;Description automatically generated with low confidence">
              <a:extLst>
                <a:ext uri="{FF2B5EF4-FFF2-40B4-BE49-F238E27FC236}">
                  <a16:creationId xmlns:a16="http://schemas.microsoft.com/office/drawing/2014/main" id="{F4E19D00-2EF6-4864-8BE3-938B8320570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55" t="1225" r="943" b="52375"/>
            <a:stretch/>
          </p:blipFill>
          <p:spPr>
            <a:xfrm rot="10800000" flipH="1">
              <a:off x="-99700" y="0"/>
              <a:ext cx="872715" cy="6877664"/>
            </a:xfrm>
            <a:prstGeom prst="rect">
              <a:avLst/>
            </a:prstGeom>
          </p:spPr>
        </p:pic>
        <p:pic>
          <p:nvPicPr>
            <p:cNvPr id="19" name="Picture 18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AFEAD60E-C7F8-44B7-9F7F-2F5C60C1EED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t="6973" b="4485"/>
            <a:stretch/>
          </p:blipFill>
          <p:spPr>
            <a:xfrm>
              <a:off x="1011531" y="1969594"/>
              <a:ext cx="4432273" cy="1649690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3915361-5642-4322-BC15-F7605F2375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749186" y="1698527"/>
              <a:ext cx="0" cy="2167357"/>
            </a:xfrm>
            <a:prstGeom prst="line">
              <a:avLst/>
            </a:prstGeom>
            <a:ln>
              <a:solidFill>
                <a:srgbClr val="3676B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F2BB7CB8-2335-4A07-90B8-76DE4E6C37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390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4765564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580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Safety Alert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5601" y="269826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4203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31362595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00150" y="330767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Safety Success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1284" y="273247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7526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36132" y="31983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Potential Fatal Event: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9970122C-C8E4-4720-A69A-0E2F32A475B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6078" y="1404939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D978F47B-038C-4D2F-909F-84865B87DB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61367" y="1400177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9" name="Picture Placeholder 47">
            <a:extLst>
              <a:ext uri="{FF2B5EF4-FFF2-40B4-BE49-F238E27FC236}">
                <a16:creationId xmlns:a16="http://schemas.microsoft.com/office/drawing/2014/main" id="{783014AD-39D1-40FB-92B9-9AD8139F51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009896" y="4057843"/>
            <a:ext cx="4073285" cy="179050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DE4C36A2-1234-4698-B62A-3D670FAC5B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461365" y="3752850"/>
            <a:ext cx="2409824" cy="236484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7" name="Text Placeholder 65">
            <a:extLst>
              <a:ext uri="{FF2B5EF4-FFF2-40B4-BE49-F238E27FC236}">
                <a16:creationId xmlns:a16="http://schemas.microsoft.com/office/drawing/2014/main" id="{DA7919E0-CDAF-4C96-A481-21EDB869AC0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201111" y="3769573"/>
            <a:ext cx="2414791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8" name="Text Placeholder 65">
            <a:extLst>
              <a:ext uri="{FF2B5EF4-FFF2-40B4-BE49-F238E27FC236}">
                <a16:creationId xmlns:a16="http://schemas.microsoft.com/office/drawing/2014/main" id="{B1C85E3C-04FA-424C-98CB-D6401A4A997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009896" y="5855288"/>
            <a:ext cx="4073285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6A18137-DC09-48E5-83F3-BDB8A8DC651C}"/>
              </a:ext>
            </a:extLst>
          </p:cNvPr>
          <p:cNvSpPr txBox="1"/>
          <p:nvPr userDrawn="1"/>
        </p:nvSpPr>
        <p:spPr>
          <a:xfrm>
            <a:off x="3049954" y="3218934"/>
            <a:ext cx="60999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3" name="Table 2">
            <a:extLst>
              <a:ext uri="{FF2B5EF4-FFF2-40B4-BE49-F238E27FC236}">
                <a16:creationId xmlns:a16="http://schemas.microsoft.com/office/drawing/2014/main" id="{4013CCEF-D53D-4F7F-906A-48E4D26AD87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22119393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34" name="Title 9">
            <a:extLst>
              <a:ext uri="{FF2B5EF4-FFF2-40B4-BE49-F238E27FC236}">
                <a16:creationId xmlns:a16="http://schemas.microsoft.com/office/drawing/2014/main" id="{7CCF051D-2A8C-4AE0-8753-2ABC96B21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703" y="269826"/>
            <a:ext cx="426057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5109801-6542-48D8-AAC2-C3178335A8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B23D135D-4B5B-4F66-A089-FBB24E6E69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37B7C0B6-7241-4A0D-8684-E0D37A9EA0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8965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CB6E976-3DD2-4C8B-96A5-F278486EF836}"/>
              </a:ext>
            </a:extLst>
          </p:cNvPr>
          <p:cNvSpPr txBox="1">
            <a:spLocks/>
          </p:cNvSpPr>
          <p:nvPr userDrawn="1"/>
        </p:nvSpPr>
        <p:spPr>
          <a:xfrm>
            <a:off x="5470467" y="6421684"/>
            <a:ext cx="131202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6BC511-10EB-484C-B18D-C6EFEBCBF01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9">
            <a:extLst>
              <a:ext uri="{FF2B5EF4-FFF2-40B4-BE49-F238E27FC236}">
                <a16:creationId xmlns:a16="http://schemas.microsoft.com/office/drawing/2014/main" id="{3BFCDD63-0882-4AF8-820A-360A06F8C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909" y="381197"/>
            <a:ext cx="3640834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273A34C-07F0-4691-8E99-F0756E0711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6EB889-76E0-4655-9CB3-43B72F254E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pic>
        <p:nvPicPr>
          <p:cNvPr id="14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3E08659-9A13-4582-8CBD-C371CE8AF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4376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23234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 Risk Ev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9">
            <a:extLst>
              <a:ext uri="{FF2B5EF4-FFF2-40B4-BE49-F238E27FC236}">
                <a16:creationId xmlns:a16="http://schemas.microsoft.com/office/drawing/2014/main" id="{3CB44BE4-315C-403E-89DC-59ED94E35F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3723" y="273979"/>
            <a:ext cx="462455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High Risk Event:</a:t>
            </a:r>
          </a:p>
        </p:txBody>
      </p:sp>
      <p:graphicFrame>
        <p:nvGraphicFramePr>
          <p:cNvPr id="27" name="Table 2">
            <a:extLst>
              <a:ext uri="{FF2B5EF4-FFF2-40B4-BE49-F238E27FC236}">
                <a16:creationId xmlns:a16="http://schemas.microsoft.com/office/drawing/2014/main" id="{2E2CDC08-4430-4340-B351-E835113BC20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9483865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C146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7BB7579B-44CB-4F79-A03B-A82982384F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4D3A16F-CF2D-41B9-B8B2-19302DB85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4D667B8-73E8-4470-B9A7-980474805E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6637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4765564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580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Safety Alert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5601" y="269826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1383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31362595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00150" y="330767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afety Success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1284" y="273247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3203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36132" y="31983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Potential Fatal Event: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9970122C-C8E4-4720-A69A-0E2F32A475B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6078" y="1404939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D978F47B-038C-4D2F-909F-84865B87DB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61367" y="1400177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9" name="Picture Placeholder 47">
            <a:extLst>
              <a:ext uri="{FF2B5EF4-FFF2-40B4-BE49-F238E27FC236}">
                <a16:creationId xmlns:a16="http://schemas.microsoft.com/office/drawing/2014/main" id="{783014AD-39D1-40FB-92B9-9AD8139F51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009896" y="4057843"/>
            <a:ext cx="4073285" cy="179050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DE4C36A2-1234-4698-B62A-3D670FAC5B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461365" y="3752850"/>
            <a:ext cx="2409824" cy="236484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7" name="Text Placeholder 65">
            <a:extLst>
              <a:ext uri="{FF2B5EF4-FFF2-40B4-BE49-F238E27FC236}">
                <a16:creationId xmlns:a16="http://schemas.microsoft.com/office/drawing/2014/main" id="{DA7919E0-CDAF-4C96-A481-21EDB869AC0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201111" y="3769573"/>
            <a:ext cx="2414791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8" name="Text Placeholder 65">
            <a:extLst>
              <a:ext uri="{FF2B5EF4-FFF2-40B4-BE49-F238E27FC236}">
                <a16:creationId xmlns:a16="http://schemas.microsoft.com/office/drawing/2014/main" id="{B1C85E3C-04FA-424C-98CB-D6401A4A997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009896" y="5855288"/>
            <a:ext cx="4073285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6A18137-DC09-48E5-83F3-BDB8A8DC651C}"/>
              </a:ext>
            </a:extLst>
          </p:cNvPr>
          <p:cNvSpPr txBox="1"/>
          <p:nvPr userDrawn="1"/>
        </p:nvSpPr>
        <p:spPr>
          <a:xfrm>
            <a:off x="3049954" y="3218934"/>
            <a:ext cx="60999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3" name="Table 2">
            <a:extLst>
              <a:ext uri="{FF2B5EF4-FFF2-40B4-BE49-F238E27FC236}">
                <a16:creationId xmlns:a16="http://schemas.microsoft.com/office/drawing/2014/main" id="{4013CCEF-D53D-4F7F-906A-48E4D26AD87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22119393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34" name="Title 9">
            <a:extLst>
              <a:ext uri="{FF2B5EF4-FFF2-40B4-BE49-F238E27FC236}">
                <a16:creationId xmlns:a16="http://schemas.microsoft.com/office/drawing/2014/main" id="{7CCF051D-2A8C-4AE0-8753-2ABC96B21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703" y="269826"/>
            <a:ext cx="426057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5109801-6542-48D8-AAC2-C3178335A8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B23D135D-4B5B-4F66-A089-FBB24E6E69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37B7C0B6-7241-4A0D-8684-E0D37A9EA0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5370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CB6E976-3DD2-4C8B-96A5-F278486EF836}"/>
              </a:ext>
            </a:extLst>
          </p:cNvPr>
          <p:cNvSpPr txBox="1">
            <a:spLocks/>
          </p:cNvSpPr>
          <p:nvPr userDrawn="1"/>
        </p:nvSpPr>
        <p:spPr>
          <a:xfrm>
            <a:off x="5470467" y="6421684"/>
            <a:ext cx="131202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6BC511-10EB-484C-B18D-C6EFEBCBF01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9">
            <a:extLst>
              <a:ext uri="{FF2B5EF4-FFF2-40B4-BE49-F238E27FC236}">
                <a16:creationId xmlns:a16="http://schemas.microsoft.com/office/drawing/2014/main" id="{3BFCDD63-0882-4AF8-820A-360A06F8C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909" y="381197"/>
            <a:ext cx="3640834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273A34C-07F0-4691-8E99-F0756E0711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6EB889-76E0-4655-9CB3-43B72F254E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pic>
        <p:nvPicPr>
          <p:cNvPr id="14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3E08659-9A13-4582-8CBD-C371CE8AF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B7840D2-155F-43AA-86BE-2EA8A0E38576}"/>
              </a:ext>
            </a:extLst>
          </p:cNvPr>
          <p:cNvSpPr/>
          <p:nvPr userDrawn="1"/>
        </p:nvSpPr>
        <p:spPr>
          <a:xfrm>
            <a:off x="-107686" y="3178"/>
            <a:ext cx="12290630" cy="14872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21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7632" y="1698527"/>
            <a:ext cx="5324678" cy="2167357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pic>
        <p:nvPicPr>
          <p:cNvPr id="12" name="Picture 11" descr="Text&#10;&#10;Description automatically generated with medium confidence">
            <a:extLst>
              <a:ext uri="{FF2B5EF4-FFF2-40B4-BE49-F238E27FC236}">
                <a16:creationId xmlns:a16="http://schemas.microsoft.com/office/drawing/2014/main" id="{BEFB49D2-B17C-4BA4-9394-EE5B2E0F75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1573" y="5657940"/>
            <a:ext cx="2567473" cy="96280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829CE93-B435-45A5-8F92-72FDBAABB912}"/>
              </a:ext>
            </a:extLst>
          </p:cNvPr>
          <p:cNvSpPr/>
          <p:nvPr userDrawn="1"/>
        </p:nvSpPr>
        <p:spPr>
          <a:xfrm>
            <a:off x="-97572" y="3177"/>
            <a:ext cx="4454265" cy="68548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pic>
        <p:nvPicPr>
          <p:cNvPr id="17" name="Picture 16" descr="A close up of a wood surface&#10;&#10;Description automatically generated with low confidence">
            <a:extLst>
              <a:ext uri="{FF2B5EF4-FFF2-40B4-BE49-F238E27FC236}">
                <a16:creationId xmlns:a16="http://schemas.microsoft.com/office/drawing/2014/main" id="{F4E19D00-2EF6-4864-8BE3-938B832057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5" t="1225" r="943" b="52375"/>
          <a:stretch/>
        </p:blipFill>
        <p:spPr>
          <a:xfrm rot="16200000" flipH="1">
            <a:off x="5873927" y="-5994218"/>
            <a:ext cx="336459" cy="12299687"/>
          </a:xfrm>
          <a:prstGeom prst="rect">
            <a:avLst/>
          </a:prstGeom>
        </p:spPr>
      </p:pic>
      <p:pic>
        <p:nvPicPr>
          <p:cNvPr id="19" name="Picture 18" descr="Logo&#10;&#10;Description automatically generated with medium confidence">
            <a:extLst>
              <a:ext uri="{FF2B5EF4-FFF2-40B4-BE49-F238E27FC236}">
                <a16:creationId xmlns:a16="http://schemas.microsoft.com/office/drawing/2014/main" id="{AFEAD60E-C7F8-44B7-9F7F-2F5C60C1EE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6973" b="4485"/>
          <a:stretch/>
        </p:blipFill>
        <p:spPr>
          <a:xfrm>
            <a:off x="1012595" y="1966230"/>
            <a:ext cx="4432273" cy="1644211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3915361-5642-4322-BC15-F7605F237553}"/>
              </a:ext>
            </a:extLst>
          </p:cNvPr>
          <p:cNvCxnSpPr>
            <a:cxnSpLocks/>
          </p:cNvCxnSpPr>
          <p:nvPr userDrawn="1"/>
        </p:nvCxnSpPr>
        <p:spPr>
          <a:xfrm>
            <a:off x="5750250" y="1696063"/>
            <a:ext cx="0" cy="2160159"/>
          </a:xfrm>
          <a:prstGeom prst="line">
            <a:avLst/>
          </a:prstGeom>
          <a:ln>
            <a:solidFill>
              <a:srgbClr val="3676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F2BB7CB8-2335-4A07-90B8-76DE4E6C370A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A0B8490-C9AF-4BB7-980F-1E2D01EBA3B7}"/>
              </a:ext>
            </a:extLst>
          </p:cNvPr>
          <p:cNvCxnSpPr>
            <a:cxnSpLocks/>
          </p:cNvCxnSpPr>
          <p:nvPr userDrawn="1"/>
        </p:nvCxnSpPr>
        <p:spPr>
          <a:xfrm>
            <a:off x="489527" y="5588878"/>
            <a:ext cx="11058238" cy="0"/>
          </a:xfrm>
          <a:prstGeom prst="line">
            <a:avLst/>
          </a:prstGeom>
          <a:ln w="127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072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81463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 Risk Ev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9">
            <a:extLst>
              <a:ext uri="{FF2B5EF4-FFF2-40B4-BE49-F238E27FC236}">
                <a16:creationId xmlns:a16="http://schemas.microsoft.com/office/drawing/2014/main" id="{3CB44BE4-315C-403E-89DC-59ED94E35F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3723" y="273979"/>
            <a:ext cx="462455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High Risk Event:</a:t>
            </a:r>
          </a:p>
        </p:txBody>
      </p:sp>
      <p:graphicFrame>
        <p:nvGraphicFramePr>
          <p:cNvPr id="27" name="Table 2">
            <a:extLst>
              <a:ext uri="{FF2B5EF4-FFF2-40B4-BE49-F238E27FC236}">
                <a16:creationId xmlns:a16="http://schemas.microsoft.com/office/drawing/2014/main" id="{2E2CDC08-4430-4340-B351-E835113BC20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9483865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C146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7BB7579B-44CB-4F79-A03B-A82982384F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4D3A16F-CF2D-41B9-B8B2-19302DB85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4D667B8-73E8-4470-B9A7-980474805E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2080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47655649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5800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65364" y="31231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Safety Alert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5601" y="269826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964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fety Al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Table 2">
            <a:extLst>
              <a:ext uri="{FF2B5EF4-FFF2-40B4-BE49-F238E27FC236}">
                <a16:creationId xmlns:a16="http://schemas.microsoft.com/office/drawing/2014/main" id="{83CCF6A5-D39D-4670-8B7D-D9FC9164800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31362595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FDA79467-0A9E-4EB9-96A2-1A12ED8B7691}"/>
              </a:ext>
            </a:extLst>
          </p:cNvPr>
          <p:cNvSpPr txBox="1"/>
          <p:nvPr userDrawn="1"/>
        </p:nvSpPr>
        <p:spPr>
          <a:xfrm>
            <a:off x="1200150" y="330767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Safety Success:</a:t>
            </a:r>
          </a:p>
        </p:txBody>
      </p:sp>
      <p:sp>
        <p:nvSpPr>
          <p:cNvPr id="31" name="Title 9">
            <a:extLst>
              <a:ext uri="{FF2B5EF4-FFF2-40B4-BE49-F238E27FC236}">
                <a16:creationId xmlns:a16="http://schemas.microsoft.com/office/drawing/2014/main" id="{A2F73C00-AE0D-4169-8B8D-A912A2287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81284" y="273247"/>
            <a:ext cx="520218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852160-A695-49A9-A464-AA5B9CAA8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4F44CEB-5C85-435B-BC18-ED4B062039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534F96E6-8252-4A3A-931C-27ED5FD7A0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4527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3648BB3-A8F0-45C7-90E2-20C0F345A14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170F48A-97D8-402D-80D6-FD813F09F72F}"/>
              </a:ext>
            </a:extLst>
          </p:cNvPr>
          <p:cNvSpPr txBox="1"/>
          <p:nvPr userDrawn="1"/>
        </p:nvSpPr>
        <p:spPr>
          <a:xfrm>
            <a:off x="1236132" y="319835"/>
            <a:ext cx="4232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Potential Fatal Event:</a:t>
            </a:r>
          </a:p>
        </p:txBody>
      </p:sp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9970122C-C8E4-4720-A69A-0E2F32A475B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6078" y="1404939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D978F47B-038C-4D2F-909F-84865B87DB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61367" y="1400177"/>
            <a:ext cx="2409824" cy="2352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9" name="Picture Placeholder 47">
            <a:extLst>
              <a:ext uri="{FF2B5EF4-FFF2-40B4-BE49-F238E27FC236}">
                <a16:creationId xmlns:a16="http://schemas.microsoft.com/office/drawing/2014/main" id="{783014AD-39D1-40FB-92B9-9AD8139F51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009896" y="4057843"/>
            <a:ext cx="4073285" cy="179050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DE4C36A2-1234-4698-B62A-3D670FAC5B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461365" y="3752850"/>
            <a:ext cx="2409824" cy="236484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7" name="Text Placeholder 65">
            <a:extLst>
              <a:ext uri="{FF2B5EF4-FFF2-40B4-BE49-F238E27FC236}">
                <a16:creationId xmlns:a16="http://schemas.microsoft.com/office/drawing/2014/main" id="{DA7919E0-CDAF-4C96-A481-21EDB869AC0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201111" y="3769573"/>
            <a:ext cx="2414791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68" name="Text Placeholder 65">
            <a:extLst>
              <a:ext uri="{FF2B5EF4-FFF2-40B4-BE49-F238E27FC236}">
                <a16:creationId xmlns:a16="http://schemas.microsoft.com/office/drawing/2014/main" id="{B1C85E3C-04FA-424C-98CB-D6401A4A997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009896" y="5855288"/>
            <a:ext cx="4073285" cy="226425"/>
          </a:xfrm>
          <a:prstGeom prst="rect">
            <a:avLst/>
          </a:prstGeom>
        </p:spPr>
        <p:txBody>
          <a:bodyPr/>
          <a:lstStyle>
            <a:lvl1pPr>
              <a:defRPr sz="1401"/>
            </a:lvl1pPr>
            <a:lvl3pPr marL="384051" indent="0">
              <a:buNone/>
              <a:defRPr/>
            </a:lvl3pPr>
          </a:lstStyle>
          <a:p>
            <a:pPr lvl="0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6A18137-DC09-48E5-83F3-BDB8A8DC651C}"/>
              </a:ext>
            </a:extLst>
          </p:cNvPr>
          <p:cNvSpPr txBox="1"/>
          <p:nvPr userDrawn="1"/>
        </p:nvSpPr>
        <p:spPr>
          <a:xfrm>
            <a:off x="3049954" y="3218934"/>
            <a:ext cx="60999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8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3" name="Table 2">
            <a:extLst>
              <a:ext uri="{FF2B5EF4-FFF2-40B4-BE49-F238E27FC236}">
                <a16:creationId xmlns:a16="http://schemas.microsoft.com/office/drawing/2014/main" id="{4013CCEF-D53D-4F7F-906A-48E4D26AD87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22119393"/>
              </p:ext>
            </p:extLst>
          </p:nvPr>
        </p:nvGraphicFramePr>
        <p:xfrm>
          <a:off x="6309692" y="1066800"/>
          <a:ext cx="5609205" cy="555864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609205">
                  <a:extLst>
                    <a:ext uri="{9D8B030D-6E8A-4147-A177-3AD203B41FA5}">
                      <a16:colId xmlns:a16="http://schemas.microsoft.com/office/drawing/2014/main" val="2478897174"/>
                    </a:ext>
                  </a:extLst>
                </a:gridCol>
              </a:tblGrid>
              <a:tr h="357821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tos / Links</a:t>
                      </a:r>
                    </a:p>
                  </a:txBody>
                  <a:tcPr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705209"/>
                  </a:ext>
                </a:extLst>
              </a:tr>
              <a:tr h="5200828">
                <a:tc>
                  <a:txBody>
                    <a:bodyPr/>
                    <a:lstStyle/>
                    <a:p>
                      <a:endParaRPr lang="en-US" sz="1000" b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817402"/>
                  </a:ext>
                </a:extLst>
              </a:tr>
            </a:tbl>
          </a:graphicData>
        </a:graphic>
      </p:graphicFrame>
      <p:sp>
        <p:nvSpPr>
          <p:cNvPr id="34" name="Title 9">
            <a:extLst>
              <a:ext uri="{FF2B5EF4-FFF2-40B4-BE49-F238E27FC236}">
                <a16:creationId xmlns:a16="http://schemas.microsoft.com/office/drawing/2014/main" id="{7CCF051D-2A8C-4AE0-8753-2ABC96B21F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57703" y="269826"/>
            <a:ext cx="4260579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5109801-6542-48D8-AAC2-C3178335A8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B23D135D-4B5B-4F66-A089-FBB24E6E69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9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37B7C0B6-7241-4A0D-8684-E0D37A9EA0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0442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FE F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CB6E976-3DD2-4C8B-96A5-F278486EF836}"/>
              </a:ext>
            </a:extLst>
          </p:cNvPr>
          <p:cNvSpPr txBox="1">
            <a:spLocks/>
          </p:cNvSpPr>
          <p:nvPr userDrawn="1"/>
        </p:nvSpPr>
        <p:spPr>
          <a:xfrm>
            <a:off x="5470467" y="6421684"/>
            <a:ext cx="131202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1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46BC511-10EB-484C-B18D-C6EFEBCBF01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9">
            <a:extLst>
              <a:ext uri="{FF2B5EF4-FFF2-40B4-BE49-F238E27FC236}">
                <a16:creationId xmlns:a16="http://schemas.microsoft.com/office/drawing/2014/main" id="{3BFCDD63-0882-4AF8-820A-360A06F8C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22909" y="381197"/>
            <a:ext cx="3640834" cy="533203"/>
          </a:xfrm>
          <a:prstGeom prst="rect">
            <a:avLst/>
          </a:prstGeom>
        </p:spPr>
        <p:txBody>
          <a:bodyPr anchor="ctr"/>
          <a:lstStyle>
            <a:lvl1pPr algn="l"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[Title of Event]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0273A34C-07F0-4691-8E99-F0756E0711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73050" y="103188"/>
            <a:ext cx="927100" cy="70326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F6EB889-76E0-4655-9CB3-43B72F254E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1581" y="200024"/>
            <a:ext cx="2250375" cy="261487"/>
          </a:xfrm>
          <a:prstGeom prst="rect">
            <a:avLst/>
          </a:prstGeom>
        </p:spPr>
      </p:pic>
      <p:pic>
        <p:nvPicPr>
          <p:cNvPr id="14" name="Picture Placeholder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A3E08659-9A13-4582-8CBD-C371CE8AF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77" t="-3356" r="6" b="-1354"/>
          <a:stretch/>
        </p:blipFill>
        <p:spPr>
          <a:xfrm>
            <a:off x="11131826" y="489227"/>
            <a:ext cx="570130" cy="324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7870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54633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407559"/>
            <a:ext cx="9680953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1484" y="1519518"/>
            <a:ext cx="10572316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97A209C-879B-4793-A1F6-391624282F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098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-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0828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311508"/>
            <a:ext cx="9680953" cy="532804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1484" y="1519518"/>
            <a:ext cx="10572316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buClr>
                <a:srgbClr val="BB5D00"/>
              </a:buClr>
              <a:defRPr lang="en-US" sz="16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139825" lvl="4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C7805AE-83AC-40B4-88BE-27938D6B0A1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81483" y="778995"/>
            <a:ext cx="9680953" cy="3118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i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6AB2AEA-A29E-4142-80F2-FE4929AC6C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169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72A385F-36DD-46FB-A566-F5EABF7F0EE1}"/>
              </a:ext>
            </a:extLst>
          </p:cNvPr>
          <p:cNvSpPr/>
          <p:nvPr userDrawn="1"/>
        </p:nvSpPr>
        <p:spPr>
          <a:xfrm>
            <a:off x="3176" y="1123503"/>
            <a:ext cx="12188824" cy="15693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363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407559"/>
            <a:ext cx="9680953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93DBAB-33E2-42FF-8425-76A9F1C1A2E7}"/>
              </a:ext>
            </a:extLst>
          </p:cNvPr>
          <p:cNvSpPr/>
          <p:nvPr userDrawn="1"/>
        </p:nvSpPr>
        <p:spPr>
          <a:xfrm>
            <a:off x="9192818" y="2882263"/>
            <a:ext cx="2908985" cy="327998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6F5BF-D6F4-4749-A47E-53D716145806}"/>
              </a:ext>
            </a:extLst>
          </p:cNvPr>
          <p:cNvSpPr/>
          <p:nvPr userDrawn="1"/>
        </p:nvSpPr>
        <p:spPr>
          <a:xfrm>
            <a:off x="408999" y="4930439"/>
            <a:ext cx="372486" cy="1231804"/>
          </a:xfrm>
          <a:prstGeom prst="rect">
            <a:avLst/>
          </a:prstGeom>
          <a:gradFill>
            <a:gsLst>
              <a:gs pos="25000">
                <a:srgbClr val="FEC745"/>
              </a:gs>
              <a:gs pos="0">
                <a:srgbClr val="E18332"/>
              </a:gs>
              <a:gs pos="100000">
                <a:srgbClr val="9B532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19F31B-DDC9-4E7A-8A22-64E121314F2B}"/>
              </a:ext>
            </a:extLst>
          </p:cNvPr>
          <p:cNvSpPr/>
          <p:nvPr userDrawn="1"/>
        </p:nvSpPr>
        <p:spPr>
          <a:xfrm>
            <a:off x="820070" y="4926247"/>
            <a:ext cx="405119" cy="1231803"/>
          </a:xfrm>
          <a:prstGeom prst="rect">
            <a:avLst/>
          </a:prstGeom>
          <a:gradFill>
            <a:gsLst>
              <a:gs pos="49000">
                <a:srgbClr val="4AA4C6"/>
              </a:gs>
              <a:gs pos="0">
                <a:srgbClr val="B5E4F7"/>
              </a:gs>
              <a:gs pos="100000">
                <a:srgbClr val="224A97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1F31CCD-F890-447A-9CAD-5CC502170E1A}"/>
              </a:ext>
            </a:extLst>
          </p:cNvPr>
          <p:cNvSpPr/>
          <p:nvPr userDrawn="1"/>
        </p:nvSpPr>
        <p:spPr>
          <a:xfrm>
            <a:off x="1694431" y="4951440"/>
            <a:ext cx="387623" cy="1206610"/>
          </a:xfrm>
          <a:prstGeom prst="rect">
            <a:avLst/>
          </a:prstGeom>
          <a:gradFill>
            <a:gsLst>
              <a:gs pos="49000">
                <a:schemeClr val="accent2">
                  <a:lumMod val="75000"/>
                </a:schemeClr>
              </a:gs>
              <a:gs pos="0">
                <a:schemeClr val="accent4">
                  <a:lumMod val="40000"/>
                  <a:lumOff val="60000"/>
                </a:schemeClr>
              </a:gs>
              <a:gs pos="100000">
                <a:srgbClr val="8000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515EF54-6962-4147-A6E8-DD2B1E6DB412}"/>
              </a:ext>
            </a:extLst>
          </p:cNvPr>
          <p:cNvSpPr txBox="1"/>
          <p:nvPr userDrawn="1"/>
        </p:nvSpPr>
        <p:spPr>
          <a:xfrm>
            <a:off x="352740" y="4602400"/>
            <a:ext cx="31325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dditional color sele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8B1EFD2-16AB-44D7-A868-706CF677CC4E}"/>
              </a:ext>
            </a:extLst>
          </p:cNvPr>
          <p:cNvSpPr/>
          <p:nvPr userDrawn="1"/>
        </p:nvSpPr>
        <p:spPr>
          <a:xfrm>
            <a:off x="1281270" y="4938844"/>
            <a:ext cx="357080" cy="1231802"/>
          </a:xfrm>
          <a:prstGeom prst="rect">
            <a:avLst/>
          </a:prstGeom>
          <a:gradFill>
            <a:gsLst>
              <a:gs pos="49000">
                <a:srgbClr val="FEC745"/>
              </a:gs>
              <a:gs pos="0">
                <a:srgbClr val="F59948"/>
              </a:gs>
              <a:gs pos="100000">
                <a:srgbClr val="E1833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EA2D2EB-13B1-4028-AC06-B66CBA66A76B}"/>
              </a:ext>
            </a:extLst>
          </p:cNvPr>
          <p:cNvSpPr/>
          <p:nvPr userDrawn="1"/>
        </p:nvSpPr>
        <p:spPr>
          <a:xfrm>
            <a:off x="2185798" y="4951439"/>
            <a:ext cx="505741" cy="1206609"/>
          </a:xfrm>
          <a:prstGeom prst="rect">
            <a:avLst/>
          </a:prstGeom>
          <a:gradFill>
            <a:gsLst>
              <a:gs pos="40000">
                <a:srgbClr val="1D88C6"/>
              </a:gs>
              <a:gs pos="0">
                <a:srgbClr val="B5E4F7"/>
              </a:gs>
              <a:gs pos="100000">
                <a:srgbClr val="09457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52F6261-B011-4584-B2D0-D5D35E673AD0}"/>
              </a:ext>
            </a:extLst>
          </p:cNvPr>
          <p:cNvSpPr txBox="1"/>
          <p:nvPr userDrawn="1"/>
        </p:nvSpPr>
        <p:spPr>
          <a:xfrm>
            <a:off x="1281270" y="1321775"/>
            <a:ext cx="10110835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b="1" u="sng" dirty="0">
                <a:latin typeface="Arial" panose="020B0604020202020204" pitchFamily="34" charset="0"/>
                <a:cs typeface="Arial" panose="020B0604020202020204" pitchFamily="34" charset="0"/>
              </a:rPr>
              <a:t>2023 The Power of Copper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lor theme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elect View/Slide Master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elect Theme Colors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nder </a:t>
            </a: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Custo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select 2023 the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5E4230-DA07-43A5-B327-DCC0FA46F099}"/>
              </a:ext>
            </a:extLst>
          </p:cNvPr>
          <p:cNvSpPr txBox="1"/>
          <p:nvPr userDrawn="1"/>
        </p:nvSpPr>
        <p:spPr>
          <a:xfrm>
            <a:off x="437220" y="2913247"/>
            <a:ext cx="2267559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in color selec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AE48A92-74AE-4DC9-9674-B700DC5BA983}"/>
              </a:ext>
            </a:extLst>
          </p:cNvPr>
          <p:cNvSpPr txBox="1"/>
          <p:nvPr userDrawn="1"/>
        </p:nvSpPr>
        <p:spPr>
          <a:xfrm>
            <a:off x="4261665" y="2764922"/>
            <a:ext cx="1234146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te for dark background</a:t>
            </a:r>
            <a:endParaRPr lang="en-US" sz="12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6DF2025-16B1-4CBD-9B88-2EFC9132F245}"/>
              </a:ext>
            </a:extLst>
          </p:cNvPr>
          <p:cNvSpPr/>
          <p:nvPr userDrawn="1"/>
        </p:nvSpPr>
        <p:spPr>
          <a:xfrm>
            <a:off x="379827" y="3489254"/>
            <a:ext cx="275897" cy="245798"/>
          </a:xfrm>
          <a:prstGeom prst="rect">
            <a:avLst/>
          </a:prstGeom>
          <a:solidFill>
            <a:srgbClr val="E143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3D22604-93BB-4B3B-A1D3-1797F1EF46EE}"/>
              </a:ext>
            </a:extLst>
          </p:cNvPr>
          <p:cNvSpPr/>
          <p:nvPr userDrawn="1"/>
        </p:nvSpPr>
        <p:spPr>
          <a:xfrm>
            <a:off x="1088300" y="3489254"/>
            <a:ext cx="275897" cy="245798"/>
          </a:xfrm>
          <a:prstGeom prst="rect">
            <a:avLst/>
          </a:prstGeom>
          <a:solidFill>
            <a:srgbClr val="E183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B9A3566-3339-47CB-AC83-7210A147E4E2}"/>
              </a:ext>
            </a:extLst>
          </p:cNvPr>
          <p:cNvSpPr/>
          <p:nvPr userDrawn="1"/>
        </p:nvSpPr>
        <p:spPr>
          <a:xfrm>
            <a:off x="1754257" y="3489254"/>
            <a:ext cx="275897" cy="245798"/>
          </a:xfrm>
          <a:prstGeom prst="rect">
            <a:avLst/>
          </a:prstGeom>
          <a:solidFill>
            <a:srgbClr val="FEC7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78F39C0-859E-4629-AA42-567829112258}"/>
              </a:ext>
            </a:extLst>
          </p:cNvPr>
          <p:cNvSpPr/>
          <p:nvPr userDrawn="1"/>
        </p:nvSpPr>
        <p:spPr>
          <a:xfrm>
            <a:off x="3005530" y="3489254"/>
            <a:ext cx="275897" cy="245798"/>
          </a:xfrm>
          <a:prstGeom prst="rect">
            <a:avLst/>
          </a:prstGeom>
          <a:solidFill>
            <a:srgbClr val="2C77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95D5E78-F72C-4BDD-A3A9-3E7813D191A2}"/>
              </a:ext>
            </a:extLst>
          </p:cNvPr>
          <p:cNvSpPr/>
          <p:nvPr userDrawn="1"/>
        </p:nvSpPr>
        <p:spPr>
          <a:xfrm>
            <a:off x="5385696" y="3489254"/>
            <a:ext cx="275897" cy="2457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7628E13-A876-461E-BFD7-30D3AE5D6F82}"/>
              </a:ext>
            </a:extLst>
          </p:cNvPr>
          <p:cNvSpPr/>
          <p:nvPr userDrawn="1"/>
        </p:nvSpPr>
        <p:spPr>
          <a:xfrm>
            <a:off x="3572360" y="3489254"/>
            <a:ext cx="275897" cy="24579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69665F1-D8A9-476E-8F35-A25F1163EAA5}"/>
              </a:ext>
            </a:extLst>
          </p:cNvPr>
          <p:cNvSpPr/>
          <p:nvPr userDrawn="1"/>
        </p:nvSpPr>
        <p:spPr>
          <a:xfrm>
            <a:off x="4855250" y="3484877"/>
            <a:ext cx="275897" cy="245798"/>
          </a:xfrm>
          <a:prstGeom prst="rect">
            <a:avLst/>
          </a:prstGeom>
          <a:solidFill>
            <a:srgbClr val="339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72879B0A-F99E-40E5-B700-799F77DD682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281395332"/>
              </p:ext>
            </p:extLst>
          </p:nvPr>
        </p:nvGraphicFramePr>
        <p:xfrm>
          <a:off x="6549001" y="3044858"/>
          <a:ext cx="5231928" cy="3487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C018436-5F86-4927-B055-EACE768BAB44}"/>
              </a:ext>
            </a:extLst>
          </p:cNvPr>
          <p:cNvSpPr/>
          <p:nvPr userDrawn="1"/>
        </p:nvSpPr>
        <p:spPr>
          <a:xfrm>
            <a:off x="4176124" y="3477162"/>
            <a:ext cx="275897" cy="245798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DE492359-65CB-4881-A29A-BAA4AE3DD16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18074281"/>
              </p:ext>
            </p:extLst>
          </p:nvPr>
        </p:nvGraphicFramePr>
        <p:xfrm>
          <a:off x="2750712" y="4507242"/>
          <a:ext cx="3553778" cy="2128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153A013-3B3B-4571-88FE-8D757407CC69}"/>
              </a:ext>
            </a:extLst>
          </p:cNvPr>
          <p:cNvSpPr txBox="1"/>
          <p:nvPr userDrawn="1"/>
        </p:nvSpPr>
        <p:spPr>
          <a:xfrm>
            <a:off x="170824" y="3737840"/>
            <a:ext cx="785292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e0440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AF54769-E8ED-4900-8C03-EE2395944D08}"/>
              </a:ext>
            </a:extLst>
          </p:cNvPr>
          <p:cNvSpPr txBox="1"/>
          <p:nvPr userDrawn="1"/>
        </p:nvSpPr>
        <p:spPr>
          <a:xfrm>
            <a:off x="853058" y="3737840"/>
            <a:ext cx="785292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E18332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FB8D7ED-2BFD-4101-96F8-454008C72B47}"/>
              </a:ext>
            </a:extLst>
          </p:cNvPr>
          <p:cNvSpPr txBox="1"/>
          <p:nvPr userDrawn="1"/>
        </p:nvSpPr>
        <p:spPr>
          <a:xfrm>
            <a:off x="1597806" y="3737840"/>
            <a:ext cx="631902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ffc743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495BDE8-4489-4FD6-B837-02AC7ADB5639}"/>
              </a:ext>
            </a:extLst>
          </p:cNvPr>
          <p:cNvSpPr txBox="1"/>
          <p:nvPr userDrawn="1"/>
        </p:nvSpPr>
        <p:spPr>
          <a:xfrm>
            <a:off x="2095120" y="3737840"/>
            <a:ext cx="748559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01BCFF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92230F1-F0E1-4B19-ADDC-337E92B1209B}"/>
              </a:ext>
            </a:extLst>
          </p:cNvPr>
          <p:cNvSpPr txBox="1"/>
          <p:nvPr userDrawn="1"/>
        </p:nvSpPr>
        <p:spPr>
          <a:xfrm>
            <a:off x="2744295" y="3737840"/>
            <a:ext cx="72692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3676bc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B4A7CD7-FD5B-430D-8C6C-306E62A28793}"/>
              </a:ext>
            </a:extLst>
          </p:cNvPr>
          <p:cNvSpPr txBox="1"/>
          <p:nvPr userDrawn="1"/>
        </p:nvSpPr>
        <p:spPr>
          <a:xfrm>
            <a:off x="3336631" y="3737840"/>
            <a:ext cx="785292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000000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FD0965D-2713-4818-A5C9-FFF806699494}"/>
              </a:ext>
            </a:extLst>
          </p:cNvPr>
          <p:cNvSpPr txBox="1"/>
          <p:nvPr userDrawn="1"/>
        </p:nvSpPr>
        <p:spPr>
          <a:xfrm>
            <a:off x="3944317" y="3737840"/>
            <a:ext cx="785292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8F133C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C28D25B-484C-4B25-B588-55AABCF83077}"/>
              </a:ext>
            </a:extLst>
          </p:cNvPr>
          <p:cNvSpPr txBox="1"/>
          <p:nvPr userDrawn="1"/>
        </p:nvSpPr>
        <p:spPr>
          <a:xfrm>
            <a:off x="4610223" y="3737840"/>
            <a:ext cx="748559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91b54a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F8E214B-511E-49F4-ABBE-332FB17ED4A1}"/>
              </a:ext>
            </a:extLst>
          </p:cNvPr>
          <p:cNvSpPr txBox="1"/>
          <p:nvPr userDrawn="1"/>
        </p:nvSpPr>
        <p:spPr>
          <a:xfrm>
            <a:off x="5226923" y="3737840"/>
            <a:ext cx="100120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 dirty="0"/>
              <a:t>#FFFFFF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C95BC02-9AB6-44DF-8245-7AB48D01CF8C}"/>
              </a:ext>
            </a:extLst>
          </p:cNvPr>
          <p:cNvSpPr/>
          <p:nvPr userDrawn="1"/>
        </p:nvSpPr>
        <p:spPr>
          <a:xfrm>
            <a:off x="2367496" y="3489254"/>
            <a:ext cx="275897" cy="245798"/>
          </a:xfrm>
          <a:prstGeom prst="rect">
            <a:avLst/>
          </a:prstGeom>
          <a:solidFill>
            <a:srgbClr val="01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lide Number Placeholder 5">
            <a:extLst>
              <a:ext uri="{FF2B5EF4-FFF2-40B4-BE49-F238E27FC236}">
                <a16:creationId xmlns:a16="http://schemas.microsoft.com/office/drawing/2014/main" id="{5A10E9C0-414C-469A-A1E2-90DFE2AD98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274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4EB0B0-4B5A-4A01-B39D-054EF901C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7556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4EB0B0-4B5A-4A01-B39D-054EF901C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407559"/>
            <a:ext cx="9680953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DB130FC-0902-442F-B27E-E0E0C3A9D4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3118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7380EFA-D767-4D4D-9B5D-AEA78FF9A5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9740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2F7E14-F9CD-4D03-B41A-33F3FEAD4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022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2F7E14-F9CD-4D03-B41A-33F3FEAD4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491C27-2F53-EE42-B78B-37814FC582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532051"/>
            <a:ext cx="518318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BB5D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D34AEA-C535-3C48-B0FB-9E5740413B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355963"/>
            <a:ext cx="5183188" cy="368458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4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2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804862" indent="-342900" algn="l" defTabSz="914400" rtl="0" eaLnBrk="1" latinLnBrk="0" hangingPunct="1">
              <a:lnSpc>
                <a:spcPct val="90000"/>
              </a:lnSpc>
              <a:buClr>
                <a:srgbClr val="BB5D00"/>
              </a:buClr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8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1257300" indent="-342900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8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139825" lvl="4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63FB4CB-CF24-374A-A9FB-91654E21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484" y="330605"/>
            <a:ext cx="9680953" cy="705531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C69C6DC-6153-4195-B4E8-81A149B737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1484" y="1504955"/>
            <a:ext cx="518318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BB5D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BA675432-1578-4F06-A50A-43FE8D5E657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81484" y="2328867"/>
            <a:ext cx="5183188" cy="368458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4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2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804862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8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1257300" indent="-342900">
              <a:buClr>
                <a:srgbClr val="DF572A"/>
              </a:buClr>
              <a:defRPr lang="en-US" sz="18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1139825" lvl="4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76B23BA-D9E1-4CB2-8266-2AA5B300D4B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3591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1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22.xml"/><Relationship Id="rId9" Type="http://schemas.openxmlformats.org/officeDocument/2006/relationships/oleObject" Target="../embeddings/oleObject1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slideLayout" Target="../slideLayouts/slideLayout2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28.xml"/><Relationship Id="rId9" Type="http://schemas.openxmlformats.org/officeDocument/2006/relationships/oleObject" Target="../embeddings/oleObject15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34.xml"/><Relationship Id="rId9" Type="http://schemas.openxmlformats.org/officeDocument/2006/relationships/oleObject" Target="../embeddings/oleObject1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4CF489C0-760C-43B7-8C07-A290C7B0B6B9}"/>
              </a:ext>
            </a:extLst>
          </p:cNvPr>
          <p:cNvSpPr/>
          <p:nvPr userDrawn="1"/>
        </p:nvSpPr>
        <p:spPr>
          <a:xfrm>
            <a:off x="0" y="88779"/>
            <a:ext cx="12192000" cy="101816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8831" dist="38100" dir="5400000" sx="99255" sy="99255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>
              <a:latin typeface="+mj-lt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CBD5A50-C139-4334-B053-C0CA7F56D5A0}"/>
              </a:ext>
            </a:extLst>
          </p:cNvPr>
          <p:cNvCxnSpPr>
            <a:cxnSpLocks/>
          </p:cNvCxnSpPr>
          <p:nvPr userDrawn="1"/>
        </p:nvCxnSpPr>
        <p:spPr>
          <a:xfrm>
            <a:off x="0" y="1113878"/>
            <a:ext cx="12192000" cy="0"/>
          </a:xfrm>
          <a:prstGeom prst="line">
            <a:avLst/>
          </a:prstGeom>
          <a:ln w="25400">
            <a:solidFill>
              <a:srgbClr val="DA7C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 descr="A close up of a wood surface&#10;&#10;Description automatically generated with low confidence">
            <a:extLst>
              <a:ext uri="{FF2B5EF4-FFF2-40B4-BE49-F238E27FC236}">
                <a16:creationId xmlns:a16="http://schemas.microsoft.com/office/drawing/2014/main" id="{785DFB54-9645-49E7-B2BA-E0239DFC9F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6" t="1225" r="64259" b="44"/>
          <a:stretch/>
        </p:blipFill>
        <p:spPr>
          <a:xfrm rot="16200000">
            <a:off x="5947877" y="-5949704"/>
            <a:ext cx="296247" cy="12192001"/>
          </a:xfrm>
          <a:prstGeom prst="rect">
            <a:avLst/>
          </a:prstGeom>
        </p:spPr>
      </p:pic>
      <p:pic>
        <p:nvPicPr>
          <p:cNvPr id="25" name="Picture 24" descr="Logo&#10;&#10;Description automatically generated">
            <a:extLst>
              <a:ext uri="{FF2B5EF4-FFF2-40B4-BE49-F238E27FC236}">
                <a16:creationId xmlns:a16="http://schemas.microsoft.com/office/drawing/2014/main" id="{BF175280-66CE-4AD0-B28C-A715AB7D6133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203" y="15966"/>
            <a:ext cx="2387595" cy="255067"/>
          </a:xfrm>
          <a:prstGeom prst="rect">
            <a:avLst/>
          </a:prstGeom>
        </p:spPr>
      </p:pic>
      <p:pic>
        <p:nvPicPr>
          <p:cNvPr id="19" name="Picture 18" descr="Logo&#10;&#10;Description automatically generated with medium confidence">
            <a:extLst>
              <a:ext uri="{FF2B5EF4-FFF2-40B4-BE49-F238E27FC236}">
                <a16:creationId xmlns:a16="http://schemas.microsoft.com/office/drawing/2014/main" id="{29049C6A-296E-4945-A889-44BC7719BAA7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652616" y="379336"/>
            <a:ext cx="1441338" cy="60588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3C3C15-431A-4959-8649-43AA52F84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44066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5" progId="TCLayout.ActiveDocument.1">
                  <p:embed/>
                </p:oleObj>
              </mc:Choice>
              <mc:Fallback>
                <p:oleObj name="think-cell Slide" r:id="rId18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3C3C15-431A-4959-8649-43AA52F8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82C2B-A5A0-C04D-9DA5-74DC61FF2DA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782784" y="649399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023D4F-DAE9-EC46-99AC-2115C96A986A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4038600" y="649399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0C6049B-E1EB-4A95-A30D-EB673A781747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4AD2E87-F416-4650-863C-8B826391AD7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782784" y="365125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01A8757-5FEC-47BA-A12B-15160D7A32B2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782784" y="1514479"/>
            <a:ext cx="10515600" cy="46624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marL="571500" lvl="1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‒"/>
            </a:pPr>
            <a:r>
              <a:rPr lang="en-US" dirty="0"/>
              <a:t>Second level</a:t>
            </a:r>
          </a:p>
          <a:p>
            <a:pPr marL="688975" lvl="2" indent="-2270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  <a:p>
            <a:pPr marL="914400" lvl="3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1139825" marR="0" lvl="4" indent="-22542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BB5D00"/>
              </a:buClr>
              <a:buSzTx/>
              <a:buFont typeface="Arial" panose="020B0604020202020204" pitchFamily="34" charset="0"/>
              <a:buChar char="–"/>
              <a:tabLst/>
              <a:defRPr/>
            </a:pPr>
            <a:r>
              <a:rPr lang="en-US" dirty="0"/>
              <a:t>Fifth level</a:t>
            </a:r>
          </a:p>
          <a:p>
            <a:pPr marL="1939925" lvl="4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858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90000"/>
        </a:lnSpc>
        <a:spcBef>
          <a:spcPts val="1000"/>
        </a:spcBef>
        <a:buClr>
          <a:srgbClr val="BB5D00"/>
        </a:buClr>
        <a:buSzPct val="110000"/>
        <a:buFont typeface="Arial" panose="020B0604020202020204" pitchFamily="34" charset="0"/>
        <a:buChar char="•"/>
        <a:defRPr lang="en-US" sz="24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62865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‒"/>
        <a:defRPr lang="en-US" sz="22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804862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SzPct val="80000"/>
        <a:buFont typeface="Arial" panose="020B0604020202020204" pitchFamily="34" charset="0"/>
        <a:buChar char="•"/>
        <a:defRPr lang="en-US" sz="20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1031875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•"/>
        <a:defRPr lang="en-US" sz="18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4pPr>
      <a:lvl5pPr marL="12001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None/>
        <a:defRPr lang="en-US" sz="1600" b="0" i="0" kern="1200" dirty="0" smtClean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E29540-054D-CFBE-F794-5A2334E7B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7452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E29540-054D-CFBE-F794-5A2334E7B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BFF3E7E2-84F1-4C93-9C33-3D079071C2B7}"/>
              </a:ext>
            </a:extLst>
          </p:cNvPr>
          <p:cNvSpPr/>
          <p:nvPr userDrawn="1"/>
        </p:nvSpPr>
        <p:spPr>
          <a:xfrm>
            <a:off x="3175" y="-26162"/>
            <a:ext cx="12188825" cy="6514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514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</p:sldLayoutIdLst>
  <p:txStyles>
    <p:titleStyle>
      <a:lvl1pPr algn="l" defTabSz="914408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1" indent="-91441" algn="l" defTabSz="914408" rtl="0" eaLnBrk="1" latinLnBrk="0" hangingPunct="1">
        <a:lnSpc>
          <a:spcPct val="90000"/>
        </a:lnSpc>
        <a:spcBef>
          <a:spcPts val="1200"/>
        </a:spcBef>
        <a:spcAft>
          <a:spcPts val="201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51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33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14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96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10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11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13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14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6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1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256060-3FF1-916A-80FF-D25B5B2AB3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8202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256060-3FF1-916A-80FF-D25B5B2AB3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BFF3E7E2-84F1-4C93-9C33-3D079071C2B7}"/>
              </a:ext>
            </a:extLst>
          </p:cNvPr>
          <p:cNvSpPr/>
          <p:nvPr userDrawn="1"/>
        </p:nvSpPr>
        <p:spPr>
          <a:xfrm>
            <a:off x="3175" y="-26162"/>
            <a:ext cx="12188825" cy="6514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20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</p:sldLayoutIdLst>
  <p:txStyles>
    <p:titleStyle>
      <a:lvl1pPr algn="l" defTabSz="914408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1" indent="-91441" algn="l" defTabSz="914408" rtl="0" eaLnBrk="1" latinLnBrk="0" hangingPunct="1">
        <a:lnSpc>
          <a:spcPct val="90000"/>
        </a:lnSpc>
        <a:spcBef>
          <a:spcPts val="1200"/>
        </a:spcBef>
        <a:spcAft>
          <a:spcPts val="201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51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33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14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96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10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11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13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14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6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1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2641B6-553D-99BD-8F2E-E7796A0857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5474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2641B6-553D-99BD-8F2E-E7796A0857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BFF3E7E2-84F1-4C93-9C33-3D079071C2B7}"/>
              </a:ext>
            </a:extLst>
          </p:cNvPr>
          <p:cNvSpPr/>
          <p:nvPr userDrawn="1"/>
        </p:nvSpPr>
        <p:spPr>
          <a:xfrm>
            <a:off x="3175" y="-26162"/>
            <a:ext cx="12188825" cy="6514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258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</p:sldLayoutIdLst>
  <p:txStyles>
    <p:titleStyle>
      <a:lvl1pPr algn="l" defTabSz="914408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1" indent="-91441" algn="l" defTabSz="914408" rtl="0" eaLnBrk="1" latinLnBrk="0" hangingPunct="1">
        <a:lnSpc>
          <a:spcPct val="90000"/>
        </a:lnSpc>
        <a:spcBef>
          <a:spcPts val="1200"/>
        </a:spcBef>
        <a:spcAft>
          <a:spcPts val="201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51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33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14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96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10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11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13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14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6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1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A78258F-8714-8535-BB51-7BE58D0781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9438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A78258F-8714-8535-BB51-7BE58D0781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BFF3E7E2-84F1-4C93-9C33-3D079071C2B7}"/>
              </a:ext>
            </a:extLst>
          </p:cNvPr>
          <p:cNvSpPr/>
          <p:nvPr userDrawn="1"/>
        </p:nvSpPr>
        <p:spPr>
          <a:xfrm>
            <a:off x="3175" y="-26162"/>
            <a:ext cx="12188825" cy="6514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98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</p:sldLayoutIdLst>
  <p:txStyles>
    <p:titleStyle>
      <a:lvl1pPr algn="l" defTabSz="914408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1" indent="-91441" algn="l" defTabSz="914408" rtl="0" eaLnBrk="1" latinLnBrk="0" hangingPunct="1">
        <a:lnSpc>
          <a:spcPct val="90000"/>
        </a:lnSpc>
        <a:spcBef>
          <a:spcPts val="1200"/>
        </a:spcBef>
        <a:spcAft>
          <a:spcPts val="201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51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33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14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96" indent="-182881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10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11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13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14" indent="-228602" algn="l" defTabSz="914408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6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4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1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17.xml"/><Relationship Id="rId6" Type="http://schemas.openxmlformats.org/officeDocument/2006/relationships/image" Target="../media/image17.tmp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m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tmp"/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mp"/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tmp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publicportal.fmi.com/" TargetMode="Externa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mp"/><Relationship Id="rId2" Type="http://schemas.openxmlformats.org/officeDocument/2006/relationships/hyperlink" Target="https://publicportal.fmi.com/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customXml" Target="../ink/ink1.xml"/><Relationship Id="rId4" Type="http://schemas.openxmlformats.org/officeDocument/2006/relationships/image" Target="../media/image14.tmp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m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m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34707A3-0C65-47A6-943C-13E14657CDB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CX Safety Update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27F1691E-FBA2-4B2B-8113-66133A14AC7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anuary 2024</a:t>
            </a:r>
          </a:p>
        </p:txBody>
      </p:sp>
    </p:spTree>
    <p:extLst>
      <p:ext uri="{BB962C8B-B14F-4D97-AF65-F5344CB8AC3E}">
        <p14:creationId xmlns:p14="http://schemas.microsoft.com/office/powerpoint/2010/main" val="19515382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2F95AE4-135C-86CB-49E1-6B754FD2A5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2F95AE4-135C-86CB-49E1-6B754FD2A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9E461457-77AF-338D-71C0-E44BB45DE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7" descr="A screenshot of a web page&#10;&#10;Description automatically generated">
            <a:extLst>
              <a:ext uri="{FF2B5EF4-FFF2-40B4-BE49-F238E27FC236}">
                <a16:creationId xmlns:a16="http://schemas.microsoft.com/office/drawing/2014/main" id="{D818AEF7-7CDB-B387-3A3C-FA910FF6AE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6" y="0"/>
            <a:ext cx="121698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74450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A1D4C49-DD75-A944-D9CA-432AA0E9E3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A screenshot of a web page&#10;&#10;Description automatically generated">
            <a:extLst>
              <a:ext uri="{FF2B5EF4-FFF2-40B4-BE49-F238E27FC236}">
                <a16:creationId xmlns:a16="http://schemas.microsoft.com/office/drawing/2014/main" id="{542CE352-A976-CEE9-5701-1E8F5C26E6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342"/>
            <a:ext cx="12192000" cy="6831315"/>
          </a:xfrm>
          <a:prstGeom prst="rect">
            <a:avLst/>
          </a:prstGeom>
        </p:spPr>
      </p:pic>
      <p:graphicFrame>
        <p:nvGraphicFramePr>
          <p:cNvPr id="7" name="Table 25">
            <a:extLst>
              <a:ext uri="{FF2B5EF4-FFF2-40B4-BE49-F238E27FC236}">
                <a16:creationId xmlns:a16="http://schemas.microsoft.com/office/drawing/2014/main" id="{3E93DE14-1D30-2D08-C708-2532D2207F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1620491"/>
              </p:ext>
            </p:extLst>
          </p:nvPr>
        </p:nvGraphicFramePr>
        <p:xfrm>
          <a:off x="9362908" y="462032"/>
          <a:ext cx="2829092" cy="41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29092">
                  <a:extLst>
                    <a:ext uri="{9D8B030D-6E8A-4147-A177-3AD203B41FA5}">
                      <a16:colId xmlns:a16="http://schemas.microsoft.com/office/drawing/2014/main" val="4226224490"/>
                    </a:ext>
                  </a:extLst>
                </a:gridCol>
              </a:tblGrid>
              <a:tr h="397069">
                <a:tc>
                  <a:txBody>
                    <a:bodyPr/>
                    <a:lstStyle/>
                    <a:p>
                      <a:pPr marL="0" marR="0" lvl="0" indent="0" algn="l" defTabSz="9144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E # 2023-32</a:t>
                      </a:r>
                    </a:p>
                    <a:p>
                      <a:pPr marL="0" marR="0" lvl="0" indent="0" algn="l" defTabSz="9144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Event ID # 2001124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49219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35792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screenshot of a traffic accident&#10;&#10;Description automatically generated">
            <a:extLst>
              <a:ext uri="{FF2B5EF4-FFF2-40B4-BE49-F238E27FC236}">
                <a16:creationId xmlns:a16="http://schemas.microsoft.com/office/drawing/2014/main" id="{2E77E7C0-E0BE-4382-730A-B414FC79EB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71" y="0"/>
            <a:ext cx="1215305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9979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screenshot of a web page&#10;&#10;Description automatically generated">
            <a:extLst>
              <a:ext uri="{FF2B5EF4-FFF2-40B4-BE49-F238E27FC236}">
                <a16:creationId xmlns:a16="http://schemas.microsoft.com/office/drawing/2014/main" id="{3A4566B3-931E-D613-9F26-EB098AE723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4"/>
            <a:ext cx="12192000" cy="68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2295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9B636-673F-4821-B85C-85CDECCF5D9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ency Shares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E650005-96AF-48BD-A4E3-84EDA4E617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anuary 202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30F771-C6CC-46F8-BC3C-0F8466A9602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990263" y="6577013"/>
            <a:ext cx="1201737" cy="280987"/>
          </a:xfrm>
        </p:spPr>
        <p:txBody>
          <a:bodyPr/>
          <a:lstStyle/>
          <a:p>
            <a:fld id="{B5EB69C0-7537-C24C-BC67-8B5F238D947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6300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7C73FC-6F9D-4ABC-B5A5-D906AC09A0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SHA – Winter Weather</a:t>
            </a:r>
          </a:p>
        </p:txBody>
      </p:sp>
      <p:pic>
        <p:nvPicPr>
          <p:cNvPr id="9" name="Content Placeholder 8" descr="A screenshot of a website&#10;&#10;Description automatically generated">
            <a:extLst>
              <a:ext uri="{FF2B5EF4-FFF2-40B4-BE49-F238E27FC236}">
                <a16:creationId xmlns:a16="http://schemas.microsoft.com/office/drawing/2014/main" id="{DC585AFF-AF4D-435F-3E12-C6FE92BC115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7281" y="1519238"/>
            <a:ext cx="7920287" cy="4464050"/>
          </a:xfrm>
        </p:spPr>
      </p:pic>
    </p:spTree>
    <p:extLst>
      <p:ext uri="{BB962C8B-B14F-4D97-AF65-F5344CB8AC3E}">
        <p14:creationId xmlns:p14="http://schemas.microsoft.com/office/powerpoint/2010/main" val="22647099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9B636-673F-4821-B85C-85CDECCF5D9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afety Topic – Confined Space Entry Policy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E650005-96AF-48BD-A4E3-84EDA4E617A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anuary 202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30F771-C6CC-46F8-BC3C-0F8466A9602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990263" y="6577013"/>
            <a:ext cx="1201737" cy="280987"/>
          </a:xfrm>
        </p:spPr>
        <p:txBody>
          <a:bodyPr/>
          <a:lstStyle/>
          <a:p>
            <a:fld id="{B5EB69C0-7537-C24C-BC67-8B5F238D9475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292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7C73FC-6F9D-4ABC-B5A5-D906AC09A0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HE</a:t>
            </a:r>
            <a:r>
              <a:rPr lang="en-US" dirty="0"/>
              <a:t> - LOTOT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3901DE-49DB-878D-DCC5-5A61034BEF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ome | Freeport-McMoRan Public Portal (fmi.com)</a:t>
            </a:r>
            <a:endParaRPr lang="en-US" dirty="0"/>
          </a:p>
          <a:p>
            <a:pPr lvl="1"/>
            <a:r>
              <a:rPr lang="en-US" dirty="0"/>
              <a:t>https://publicportal.fmi.com</a:t>
            </a:r>
          </a:p>
          <a:p>
            <a:endParaRPr lang="en-US" dirty="0"/>
          </a:p>
          <a:p>
            <a:r>
              <a:rPr lang="en-US" dirty="0"/>
              <a:t>Key Elements</a:t>
            </a:r>
          </a:p>
          <a:p>
            <a:pPr lvl="1"/>
            <a:r>
              <a:rPr lang="en-US" dirty="0"/>
              <a:t>Climax Specifics</a:t>
            </a:r>
          </a:p>
          <a:p>
            <a:pPr lvl="1"/>
            <a:endParaRPr lang="en-US" dirty="0"/>
          </a:p>
          <a:p>
            <a:r>
              <a:rPr lang="en-US" dirty="0"/>
              <a:t>Discussions</a:t>
            </a:r>
          </a:p>
          <a:p>
            <a:endParaRPr lang="en-US" dirty="0"/>
          </a:p>
          <a:p>
            <a:r>
              <a:rPr lang="en-US" dirty="0"/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3820231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CFDB9-EAC2-2B97-06EB-AE96657D1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eting Agend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5421C9-ECB7-0C1B-3EF0-EC51AAB5C2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636714-BF07-6C24-B098-DE2FAE71A3B3}"/>
              </a:ext>
            </a:extLst>
          </p:cNvPr>
          <p:cNvSpPr txBox="1"/>
          <p:nvPr/>
        </p:nvSpPr>
        <p:spPr>
          <a:xfrm>
            <a:off x="457199" y="1337733"/>
            <a:ext cx="11540068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/>
              <a:t>Successes and Celebration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/>
              <a:t>Climax 2023 Safety Review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/>
              <a:t>Questions/Comments/Discussion on HSEP &amp; Permits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/>
              <a:t>FCX Incident Inform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/>
              <a:t>Other Informat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/>
              <a:t>Confined Space Entry Discussion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sz="2400" dirty="0"/>
              <a:t>Announcements/Open Discussion/Other</a:t>
            </a:r>
          </a:p>
        </p:txBody>
      </p:sp>
    </p:spTree>
    <p:extLst>
      <p:ext uri="{BB962C8B-B14F-4D97-AF65-F5344CB8AC3E}">
        <p14:creationId xmlns:p14="http://schemas.microsoft.com/office/powerpoint/2010/main" val="1068006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CFDB9-EAC2-2B97-06EB-AE96657D1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ccess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5421C9-ECB7-0C1B-3EF0-EC51AAB5C2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AFEBEDB-263C-DED7-E0E7-26C844B3650E}"/>
              </a:ext>
            </a:extLst>
          </p:cNvPr>
          <p:cNvSpPr txBox="1"/>
          <p:nvPr/>
        </p:nvSpPr>
        <p:spPr>
          <a:xfrm>
            <a:off x="16933" y="1372128"/>
            <a:ext cx="1184486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3">
                  <a:lumMod val="75000"/>
                </a:schemeClr>
              </a:buClr>
              <a:buSzPct val="200000"/>
              <a:buFont typeface="Wingdings" panose="05000000000000000000" pitchFamily="2" charset="2"/>
              <a:buChar char="v"/>
            </a:pPr>
            <a:r>
              <a:rPr lang="en-US" sz="3600" dirty="0"/>
              <a:t>  Contractor TRIR for Nov. &amp; Dec. &lt; ½ what it was in October</a:t>
            </a:r>
          </a:p>
          <a:p>
            <a:pPr marL="285750" indent="-285750">
              <a:buClr>
                <a:schemeClr val="accent3">
                  <a:lumMod val="75000"/>
                </a:schemeClr>
              </a:buClr>
              <a:buSzPct val="200000"/>
              <a:buFont typeface="Wingdings" panose="05000000000000000000" pitchFamily="2" charset="2"/>
              <a:buChar char="v"/>
            </a:pPr>
            <a:endParaRPr lang="en-US" sz="3600" dirty="0"/>
          </a:p>
          <a:p>
            <a:pPr marL="285750" indent="-285750">
              <a:buClr>
                <a:schemeClr val="accent3">
                  <a:lumMod val="75000"/>
                </a:schemeClr>
              </a:buClr>
              <a:buSzPct val="200000"/>
              <a:buFont typeface="Wingdings" panose="05000000000000000000" pitchFamily="2" charset="2"/>
              <a:buChar char="v"/>
            </a:pPr>
            <a:r>
              <a:rPr lang="en-US" sz="3600" dirty="0"/>
              <a:t> </a:t>
            </a:r>
          </a:p>
          <a:p>
            <a:pPr>
              <a:buClr>
                <a:schemeClr val="accent3">
                  <a:lumMod val="75000"/>
                </a:schemeClr>
              </a:buClr>
              <a:buSzPct val="200000"/>
            </a:pPr>
            <a:endParaRPr lang="en-US" sz="3600" dirty="0"/>
          </a:p>
          <a:p>
            <a:pPr marL="285750" indent="-285750">
              <a:buClr>
                <a:schemeClr val="accent3">
                  <a:lumMod val="75000"/>
                </a:schemeClr>
              </a:buClr>
              <a:buSzPct val="200000"/>
              <a:buFont typeface="Wingdings" panose="05000000000000000000" pitchFamily="2" charset="2"/>
              <a:buChar char="v"/>
            </a:pPr>
            <a:r>
              <a:rPr lang="en-US" sz="3600"/>
              <a:t>  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3365463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D9600-55BD-4F53-BFA6-A4231E4ED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23 Recordable Injuri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FA99C9-EC58-4726-9D96-2DA54A5D87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5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B5EB69C0-7537-C24C-BC67-8B5F238D9475}" type="slidenum">
              <a:rPr lang="en-US" smtClean="0"/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4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A1E6321-BA96-49D4-9AAE-902B74EF502C}"/>
              </a:ext>
            </a:extLst>
          </p:cNvPr>
          <p:cNvSpPr txBox="1"/>
          <p:nvPr/>
        </p:nvSpPr>
        <p:spPr>
          <a:xfrm>
            <a:off x="1524000" y="1180731"/>
            <a:ext cx="4572000" cy="480131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imax = 12 Inju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/>
                <a:cs typeface="Arial"/>
              </a:rPr>
              <a:t>Contractors = 16 Inju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lips, Trips, &amp; Fall = 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70C0"/>
                </a:solidFill>
                <a:latin typeface="Arial"/>
                <a:cs typeface="Arial"/>
              </a:rPr>
              <a:t>Bodily Reaction = 1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ught in/under/between  =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truck by/against = 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osure to =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70C0"/>
                </a:solidFill>
                <a:latin typeface="Arial"/>
                <a:cs typeface="Arial"/>
              </a:rPr>
              <a:t>Sprain / Strain = 11</a:t>
            </a:r>
            <a:endParaRPr lang="en-US" b="1" dirty="0">
              <a:solidFill>
                <a:srgbClr val="0070C0"/>
              </a:solidFill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tusion =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ceration =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bject in Eye = 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acture =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slocation =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urn =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mputation = 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CF0DD9-5810-4799-9306-1550B120B634}"/>
              </a:ext>
            </a:extLst>
          </p:cNvPr>
          <p:cNvSpPr txBox="1"/>
          <p:nvPr/>
        </p:nvSpPr>
        <p:spPr>
          <a:xfrm>
            <a:off x="6678706" y="2005485"/>
            <a:ext cx="3989294" cy="203132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/>
                <a:cs typeface="Arial"/>
              </a:rPr>
              <a:t>Back/Neck = 4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kle =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70C0"/>
                </a:solidFill>
              </a:rPr>
              <a:t>Arm / Hands = 1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nee = 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houlder =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ace =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7978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6CFDB9-EAC2-2B97-06EB-AE96657D10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Steps Discuss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5421C9-ECB7-0C1B-3EF0-EC51AAB5C2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6A6E60-13FC-0631-6A36-209676E7C80E}"/>
              </a:ext>
            </a:extLst>
          </p:cNvPr>
          <p:cNvSpPr txBox="1"/>
          <p:nvPr/>
        </p:nvSpPr>
        <p:spPr>
          <a:xfrm>
            <a:off x="194733" y="1447800"/>
            <a:ext cx="11430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Home | Freeport-McMoRan Public Portal (fmi.com)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6" name="Picture 5" descr="A document with text on it&#10;&#10;Description automatically generated">
            <a:extLst>
              <a:ext uri="{FF2B5EF4-FFF2-40B4-BE49-F238E27FC236}">
                <a16:creationId xmlns:a16="http://schemas.microsoft.com/office/drawing/2014/main" id="{C0AFCA30-F535-7166-FB16-027485362B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871" y="1909465"/>
            <a:ext cx="4250663" cy="4419600"/>
          </a:xfrm>
          <a:prstGeom prst="rect">
            <a:avLst/>
          </a:prstGeom>
        </p:spPr>
      </p:pic>
      <p:pic>
        <p:nvPicPr>
          <p:cNvPr id="8" name="Picture 7" descr="A document with text on it&#10;&#10;Description automatically generated">
            <a:extLst>
              <a:ext uri="{FF2B5EF4-FFF2-40B4-BE49-F238E27FC236}">
                <a16:creationId xmlns:a16="http://schemas.microsoft.com/office/drawing/2014/main" id="{BBB412B9-0BBE-414E-F97A-37BA6CD3FF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4985" y="1556706"/>
            <a:ext cx="4258546" cy="4827159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D564D8B3-BBBF-7710-8D51-F139FCFFEA18}"/>
                  </a:ext>
                </a:extLst>
              </p14:cNvPr>
              <p14:cNvContentPartPr/>
              <p14:nvPr/>
            </p14:nvContentPartPr>
            <p14:xfrm>
              <a:off x="7446573" y="3418987"/>
              <a:ext cx="2595240" cy="7920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D564D8B3-BBBF-7710-8D51-F139FCFFEA18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392573" y="3311347"/>
                <a:ext cx="2702880" cy="294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1705374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2FF9C21-0075-4C25-AFD8-A9076759F5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CX Safety Incidents, Successes, &amp; Alerts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2BF2807-1F61-4676-8D4A-18C4A18E82C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anuar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888A21-8D40-4762-A810-25E547040EF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990263" y="6577013"/>
            <a:ext cx="1201737" cy="280987"/>
          </a:xfrm>
        </p:spPr>
        <p:txBody>
          <a:bodyPr/>
          <a:lstStyle/>
          <a:p>
            <a:fld id="{B5EB69C0-7537-C24C-BC67-8B5F238D947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7513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2FF9C21-0075-4C25-AFD8-A9076759F5B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FE Events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2BF2807-1F61-4676-8D4A-18C4A18E82C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anuar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888A21-8D40-4762-A810-25E547040EF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990263" y="6577013"/>
            <a:ext cx="1201737" cy="280987"/>
          </a:xfrm>
        </p:spPr>
        <p:txBody>
          <a:bodyPr/>
          <a:lstStyle/>
          <a:p>
            <a:fld id="{B5EB69C0-7537-C24C-BC67-8B5F238D947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09791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C5184C2-10FC-D5B7-FA64-5314D864C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HD Reverses into a Light Vehicle</a:t>
            </a:r>
          </a:p>
        </p:txBody>
      </p:sp>
      <p:pic>
        <p:nvPicPr>
          <p:cNvPr id="3" name="Picture 2" descr="A screenshot of a web page&#10;&#10;Description automatically generated">
            <a:extLst>
              <a:ext uri="{FF2B5EF4-FFF2-40B4-BE49-F238E27FC236}">
                <a16:creationId xmlns:a16="http://schemas.microsoft.com/office/drawing/2014/main" id="{6422F81F-9686-9850-7EC7-B8FD6D642C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4"/>
            <a:ext cx="12192000" cy="68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8238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BCBDAB-C2B3-47B4-B59F-48389B74E4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 descr="A screenshot of a web page&#10;&#10;Description automatically generated">
            <a:extLst>
              <a:ext uri="{FF2B5EF4-FFF2-40B4-BE49-F238E27FC236}">
                <a16:creationId xmlns:a16="http://schemas.microsoft.com/office/drawing/2014/main" id="{2F84956E-5255-0140-2348-BCA7D2EE37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0" y="0"/>
            <a:ext cx="121423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6950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The Power of Copper 2023">
      <a:dk1>
        <a:srgbClr val="000000"/>
      </a:dk1>
      <a:lt1>
        <a:srgbClr val="FFFFFF"/>
      </a:lt1>
      <a:dk2>
        <a:srgbClr val="3F3F3F"/>
      </a:dk2>
      <a:lt2>
        <a:srgbClr val="FDF1DF"/>
      </a:lt2>
      <a:accent1>
        <a:srgbClr val="E04401"/>
      </a:accent1>
      <a:accent2>
        <a:srgbClr val="E18332"/>
      </a:accent2>
      <a:accent3>
        <a:srgbClr val="FFC743"/>
      </a:accent3>
      <a:accent4>
        <a:srgbClr val="8F133C"/>
      </a:accent4>
      <a:accent5>
        <a:srgbClr val="339F45"/>
      </a:accent5>
      <a:accent6>
        <a:srgbClr val="3777BC"/>
      </a:accent6>
      <a:hlink>
        <a:srgbClr val="01BCFF"/>
      </a:hlink>
      <a:folHlink>
        <a:srgbClr val="178E9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 Freeport Template Widescreen" id="{F1BF0343-AA40-4D0F-81D0-A8C7B0B0C98B}" vid="{C2F6BB4B-5050-4C8E-9AEA-95C7F868BF84}"/>
    </a:ext>
  </a:extLst>
</a:theme>
</file>

<file path=ppt/theme/theme2.xml><?xml version="1.0" encoding="utf-8"?>
<a:theme xmlns:a="http://schemas.openxmlformats.org/drawingml/2006/main" name="5_Retrospec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42B6.pptm  -  AutoRecovered" id="{5CEE3F14-FEFB-4030-98EB-779EAEB09B8F}" vid="{4C6BF1EC-2D1C-4EBA-BC78-88073BF203DD}"/>
    </a:ext>
  </a:extLst>
</a:theme>
</file>

<file path=ppt/theme/theme3.xml><?xml version="1.0" encoding="utf-8"?>
<a:theme xmlns:a="http://schemas.openxmlformats.org/drawingml/2006/main" name="Retrospec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42B6.pptm  -  AutoRecovered" id="{5CEE3F14-FEFB-4030-98EB-779EAEB09B8F}" vid="{4C6BF1EC-2D1C-4EBA-BC78-88073BF203DD}"/>
    </a:ext>
  </a:extLst>
</a:theme>
</file>

<file path=ppt/theme/theme4.xml><?xml version="1.0" encoding="utf-8"?>
<a:theme xmlns:a="http://schemas.openxmlformats.org/drawingml/2006/main" name="2_Retrospec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42B6.pptm  -  AutoRecovered" id="{5CEE3F14-FEFB-4030-98EB-779EAEB09B8F}" vid="{4C6BF1EC-2D1C-4EBA-BC78-88073BF203DD}"/>
    </a:ext>
  </a:extLst>
</a:theme>
</file>

<file path=ppt/theme/theme5.xml><?xml version="1.0" encoding="utf-8"?>
<a:theme xmlns:a="http://schemas.openxmlformats.org/drawingml/2006/main" name="4_Retrospec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42B6.pptm  -  AutoRecovered" id="{5CEE3F14-FEFB-4030-98EB-779EAEB09B8F}" vid="{4C6BF1EC-2D1C-4EBA-BC78-88073BF203DD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56f8a036-ae1b-4f85-92d3-f4203c03c43b}" enabled="1" method="Standard" siteId="{5f229ce1-773c-46ed-a6fa-974006fae09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99</TotalTime>
  <Words>243</Words>
  <Application>Microsoft Office PowerPoint</Application>
  <PresentationFormat>Widescreen</PresentationFormat>
  <Paragraphs>82</Paragraphs>
  <Slides>1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rial</vt:lpstr>
      <vt:lpstr>Calibri</vt:lpstr>
      <vt:lpstr>Courier New</vt:lpstr>
      <vt:lpstr>Wingdings</vt:lpstr>
      <vt:lpstr>1_Office Theme</vt:lpstr>
      <vt:lpstr>5_Retrospect</vt:lpstr>
      <vt:lpstr>Retrospect</vt:lpstr>
      <vt:lpstr>2_Retrospect</vt:lpstr>
      <vt:lpstr>4_Retrospect</vt:lpstr>
      <vt:lpstr>think-cell Slide</vt:lpstr>
      <vt:lpstr>FCX Safety Updates</vt:lpstr>
      <vt:lpstr>Meeting Agenda</vt:lpstr>
      <vt:lpstr>Successes</vt:lpstr>
      <vt:lpstr>2023 Recordable Injuries</vt:lpstr>
      <vt:lpstr>First Steps Discussion</vt:lpstr>
      <vt:lpstr>FCX Safety Incidents, Successes, &amp; Alerts</vt:lpstr>
      <vt:lpstr>PFE Events</vt:lpstr>
      <vt:lpstr>LHD Reverses into a Light Vehicl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cy Shares</vt:lpstr>
      <vt:lpstr>OSHA – Winter Weather</vt:lpstr>
      <vt:lpstr>Safety Topic – Confined Space Entry Policy</vt:lpstr>
      <vt:lpstr>CoHE - LOTOT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ush/House Fire</dc:title>
  <dc:creator>Romero, Brianna</dc:creator>
  <cp:lastModifiedBy>Main, Matthew</cp:lastModifiedBy>
  <cp:revision>9</cp:revision>
  <dcterms:created xsi:type="dcterms:W3CDTF">2023-07-05T15:56:45Z</dcterms:created>
  <dcterms:modified xsi:type="dcterms:W3CDTF">2024-01-16T19:08:47Z</dcterms:modified>
</cp:coreProperties>
</file>